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5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6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7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8.xml" ContentType="application/vnd.openxmlformats-officedocument.theme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9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0.xml" ContentType="application/vnd.openxmlformats-officedocument.theme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heme/theme11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716" r:id="rId5"/>
    <p:sldMasterId id="2147483878" r:id="rId6"/>
    <p:sldMasterId id="2147483732" r:id="rId7"/>
    <p:sldMasterId id="2147484036" r:id="rId8"/>
    <p:sldMasterId id="2147483742" r:id="rId9"/>
    <p:sldMasterId id="2147483824" r:id="rId10"/>
    <p:sldMasterId id="2147483984" r:id="rId11"/>
    <p:sldMasterId id="2147483859" r:id="rId12"/>
    <p:sldMasterId id="2147483929" r:id="rId13"/>
    <p:sldMasterId id="2147483783" r:id="rId14"/>
  </p:sldMasterIdLst>
  <p:notesMasterIdLst>
    <p:notesMasterId r:id="rId39"/>
  </p:notesMasterIdLst>
  <p:handoutMasterIdLst>
    <p:handoutMasterId r:id="rId40"/>
  </p:handoutMasterIdLst>
  <p:sldIdLst>
    <p:sldId id="727" r:id="rId15"/>
    <p:sldId id="11481" r:id="rId16"/>
    <p:sldId id="11483" r:id="rId17"/>
    <p:sldId id="11476" r:id="rId18"/>
    <p:sldId id="11477" r:id="rId19"/>
    <p:sldId id="11479" r:id="rId20"/>
    <p:sldId id="11478" r:id="rId21"/>
    <p:sldId id="751" r:id="rId22"/>
    <p:sldId id="870" r:id="rId23"/>
    <p:sldId id="868" r:id="rId24"/>
    <p:sldId id="925" r:id="rId25"/>
    <p:sldId id="927" r:id="rId26"/>
    <p:sldId id="843" r:id="rId27"/>
    <p:sldId id="844" r:id="rId28"/>
    <p:sldId id="849" r:id="rId29"/>
    <p:sldId id="845" r:id="rId30"/>
    <p:sldId id="851" r:id="rId31"/>
    <p:sldId id="852" r:id="rId32"/>
    <p:sldId id="885" r:id="rId33"/>
    <p:sldId id="853" r:id="rId34"/>
    <p:sldId id="887" r:id="rId35"/>
    <p:sldId id="842" r:id="rId36"/>
    <p:sldId id="856" r:id="rId37"/>
    <p:sldId id="907" r:id="rId3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OC &amp; FDOC Checklist" id="{5C75EF3B-86B8-6647-A64C-81E4B07450B2}">
          <p14:sldIdLst>
            <p14:sldId id="727"/>
          </p14:sldIdLst>
        </p14:section>
        <p14:section name="McGraw Hill GO" id="{832D5652-A3DF-4D47-AA08-BBCAE78C80EF}">
          <p14:sldIdLst>
            <p14:sldId id="11481"/>
            <p14:sldId id="11483"/>
            <p14:sldId id="11476"/>
            <p14:sldId id="11477"/>
            <p14:sldId id="11479"/>
            <p14:sldId id="11478"/>
          </p14:sldIdLst>
        </p14:section>
        <p14:section name="GO and Sharpen Companion FDOC" id="{28188F46-C50F-704A-8854-5213579888ED}">
          <p14:sldIdLst>
            <p14:sldId id="751"/>
            <p14:sldId id="870"/>
            <p14:sldId id="868"/>
            <p14:sldId id="925"/>
            <p14:sldId id="927"/>
          </p14:sldIdLst>
        </p14:section>
        <p14:section name="Sharpen Companion: GO Non-IA with an LMS" id="{A6AA8325-E816-8E45-A289-C71F346BF57E}">
          <p14:sldIdLst>
            <p14:sldId id="843"/>
            <p14:sldId id="844"/>
            <p14:sldId id="849"/>
            <p14:sldId id="845"/>
            <p14:sldId id="851"/>
            <p14:sldId id="852"/>
            <p14:sldId id="885"/>
            <p14:sldId id="853"/>
            <p14:sldId id="887"/>
          </p14:sldIdLst>
        </p14:section>
        <p14:section name="Sharpen Companion: GO Log-In with LMS" id="{B36215A3-3492-E64F-B2BF-788ED469A054}">
          <p14:sldIdLst>
            <p14:sldId id="842"/>
            <p14:sldId id="856"/>
            <p14:sldId id="90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BD84612-01DC-28C1-4AA5-EDB50D6A630E}" name="Henig, Sarit" initials="HS" userId="S::sarit.henig@mheducation.com::ad83c6bf-9a7d-4a88-b545-e6e8836bd6ee" providerId="AD"/>
  <p188:author id="{C1D3EC44-2A49-0274-D086-8618EBEE3CBE}" name="Aller, Natalie" initials="" userId="S::Natalie.Aller@mheducation.com::92aaa3dc-9298-450d-b5b0-88d600ea217d" providerId="AD"/>
  <p188:author id="{1615368D-5146-B2EC-766E-281DF745382A}" name="Mcmanus, Cathy" initials="MC" userId="S::cathy.mcmanus@mheducation.com::f6f2004f-42b0-4d49-b784-7d0ab1b5edee" providerId="AD"/>
  <p188:author id="{A73DA2DF-F3D0-C5CA-884D-19E61C0D3FFA}" name="Smitherman, Erin" initials="SE" userId="S::erin.smitherman@mheducation.com::6a5b2dc9-4c06-4251-b6ef-d4dc50cd37d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61"/>
    <p:restoredTop sz="94678"/>
  </p:normalViewPr>
  <p:slideViewPr>
    <p:cSldViewPr snapToGrid="0">
      <p:cViewPr varScale="1">
        <p:scale>
          <a:sx n="117" d="100"/>
          <a:sy n="117" d="100"/>
        </p:scale>
        <p:origin x="544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7.xml"/><Relationship Id="rId34" Type="http://schemas.openxmlformats.org/officeDocument/2006/relationships/slide" Target="slides/slide20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9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slide" Target="slides/slide23.xml"/><Relationship Id="rId40" Type="http://schemas.openxmlformats.org/officeDocument/2006/relationships/handoutMaster" Target="handoutMasters/handoutMaster1.xml"/><Relationship Id="rId45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slide" Target="slides/slide22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43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slide" Target="slides/slide24.xml"/><Relationship Id="rId20" Type="http://schemas.openxmlformats.org/officeDocument/2006/relationships/slide" Target="slides/slide6.xml"/><Relationship Id="rId41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C8B9842-8E57-FA7B-7478-DA412A87942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5C62FE-88B7-0EC8-CDBC-5AF99272B4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088991-3BD6-5945-A53D-477BACF5905D}" type="datetimeFigureOut">
              <a:rPr lang="en-US" smtClean="0"/>
              <a:t>6/4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025C13-6B8D-C011-C705-95ADF35F836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8C2207-B0CB-1138-0457-10588AA5498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A42495-FACE-F749-8D87-3175C066BC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0389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AD9B68-2129-E747-B5AF-0553D7866B9D}" type="datetimeFigureOut">
              <a:rPr lang="en-US" smtClean="0"/>
              <a:t>6/4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A9B8B0-6DDC-8945-BE88-15F72254A7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0465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03994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DD9DCB-21E0-F2A1-3064-A6BC6A6F65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28A3F36-5724-3F22-587C-5EA53294B9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86DDC2-DBB5-DBE0-EBD1-68DA835327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24D3C5-510A-CBB0-344C-774396496F7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75404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79226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76F7AE-78BA-9DF7-C44F-AFC0E1C588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03E82EF-052F-792F-FF79-97376768C8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65004A6-4BD9-EDB7-A861-3F40DB93BB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BE5D7E-A6C7-547E-5857-49AF1AF1C43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98081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4C4003-357D-8A65-D21D-C0594DA5DC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25EFFBC-66EC-33EF-D097-7AD1B80EB2A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0F3FBAB-2BC2-97B6-968A-2EAE493AFD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8BF706-4D50-83D9-8A04-3A601587BE7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08737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8BE7B7-3C10-5623-D4E6-A4AD11AAFA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35C966-A91B-3D92-9BBB-173BE0F891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982397-8CB2-6273-0D77-DD7FAC2BA5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FE1340-C157-94C8-0D48-08E8BAF3B63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52084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31DA3C-C95B-C9C9-4372-6E722C72D9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EDD714F-8CBB-7BEF-59E2-F828D1368A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1BC7461-A6B6-66F0-56CA-DB31DCF3223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A8ABC2-DF54-2D33-4313-EA404F8F74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57445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9EA377-3F01-C0FA-A24D-EA8B77C1B2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EA77585-7366-49BD-0597-23B8F796B7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00A8312-5FED-E3D0-8DB2-6C995B7C28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7196C6-C976-09D8-BE93-4B6CEAC3D2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7575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00241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83C637-6336-C9BE-8D8F-20FE6A6527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21D7294-89AF-C18A-CE09-8FCE6FFE3F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D5C11C-598D-0D53-815C-40B5E0338F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5E552A-146B-9243-5857-8CEB7088A85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924979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030B3F-47A7-A4B4-6798-E8E684C977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F657AB0-15C9-DDE4-4F12-AF105985BE7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58968B3-03A6-6124-A598-92F42B8CD8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D08F89-59F5-010C-333E-560B164D58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33715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3B8A61-C950-702D-B478-2336B4A6A6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D7B35B5-5B80-F4A5-E155-CF57EFD8FD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F491AF9-727F-5F95-7DEB-A137972374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E8DF2F-3CA3-A3B5-DE38-771332DC99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95623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7D3C1A-1DE1-2B78-D79A-848EA3C741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F36692B-7BDD-673B-7A77-B41BA02A49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164B253-5749-0A65-2323-1A019FD943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800"/>
              </a:lnSpc>
            </a:pPr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D7573C-B31E-1B8D-ECE0-34538C2768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22983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02AC0C-1B8B-F697-680A-C5781B2E9E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13FD99-5DA6-6BF6-254C-4B1A88BB09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31E63C-B9A7-A061-FC88-DD3933BBB0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23A2C2-7808-FED1-2B02-9DF422B8AF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4755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7749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1F4AA9-FBAD-4349-DAE2-74DE39C58E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95DE03E-AA78-2089-2D72-4E37044914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657EDD-AAA5-16A4-C365-DA1D52687B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28CA6C-AA40-EA62-990A-C5F58A4A4B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319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D90F11-AC95-B7A2-2E34-BE03514B71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A7DAC3-63BE-4B12-FF9C-FFAAB114FA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D5C23F-3B07-BF25-2B92-48EFD4F26F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1EFF6A-F2B8-DB33-A599-39F0183DD0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7609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1FCC78-37E2-F649-6A91-9DFDBA190E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B6F469E-FAF4-34DD-4A94-FA70E1CBC6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AB1DF8A-C02C-457B-CC18-22158371DE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4EC5F6-F19D-CC72-6B16-A5E9B16121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48192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4A3F2E-80DF-86EE-4984-F847BDD56F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88573B-B09E-E67E-19B1-176B59B51A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9F96004-C74D-DF6C-4D02-8919A60054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70D4D9-F234-9AA0-E437-E47CDCBD18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1107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C7C658-A5C1-FE5E-594D-ABEBB90443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31A124-2349-67C9-279B-51F8F2C236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71620C5-575E-A89D-335F-663083F503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0084B0-B107-07FA-18ED-6272844AE3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3728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746B0C-FA63-953B-2157-9784D38A5D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451469-5B93-473F-7F84-72F1F3086E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43E227B-C2EB-8DE1-433B-AECE978FA6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E07499-0D47-B2AB-086C-66EE0F559B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48018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4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5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9.sv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1.sv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3.sv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9.sv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1.sv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3.sv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9.sv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1.sv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3.svg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EDF070E-4902-2446-B5CB-C543792B30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98F4E8AE-83DE-3E46-8112-47F77FF98D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498906"/>
            <a:ext cx="11897228" cy="5155113"/>
            <a:chOff x="0" y="498906"/>
            <a:chExt cx="11897228" cy="5155113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DD5D82C0-6CAF-574D-B118-855822081320}"/>
                </a:ext>
              </a:extLst>
            </p:cNvPr>
            <p:cNvSpPr/>
            <p:nvPr userDrawn="1"/>
          </p:nvSpPr>
          <p:spPr>
            <a:xfrm rot="18900000">
              <a:off x="10849492" y="884438"/>
              <a:ext cx="9581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9EDF456-8163-F143-AF4A-903B97CE9BC9}"/>
                </a:ext>
              </a:extLst>
            </p:cNvPr>
            <p:cNvSpPr/>
            <p:nvPr userDrawn="1"/>
          </p:nvSpPr>
          <p:spPr>
            <a:xfrm rot="18900000">
              <a:off x="10890847" y="984019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82336C6D-E628-0041-857C-9322A2451661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53" name="Parallelogram 52">
                <a:extLst>
                  <a:ext uri="{FF2B5EF4-FFF2-40B4-BE49-F238E27FC236}">
                    <a16:creationId xmlns:a16="http://schemas.microsoft.com/office/drawing/2014/main" id="{DCC0BD75-E04F-104D-9C21-744FA4C6EF68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Parallelogram 53">
                <a:extLst>
                  <a:ext uri="{FF2B5EF4-FFF2-40B4-BE49-F238E27FC236}">
                    <a16:creationId xmlns:a16="http://schemas.microsoft.com/office/drawing/2014/main" id="{BFEE5699-8431-704F-A655-FD491E2D8B60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648EC5FD-D283-3B4D-A3B4-908D0BC14F43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51" name="Parallelogram 61">
                <a:extLst>
                  <a:ext uri="{FF2B5EF4-FFF2-40B4-BE49-F238E27FC236}">
                    <a16:creationId xmlns:a16="http://schemas.microsoft.com/office/drawing/2014/main" id="{AD9D228C-7638-1141-83AF-BA7FF2D55EAE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Parallelogram 61">
                <a:extLst>
                  <a:ext uri="{FF2B5EF4-FFF2-40B4-BE49-F238E27FC236}">
                    <a16:creationId xmlns:a16="http://schemas.microsoft.com/office/drawing/2014/main" id="{CEF32391-A87F-C646-AB2F-1C912C7ABA50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7736CA0-AFFD-DB4F-8C22-2F4A88CE95D4}"/>
                </a:ext>
              </a:extLst>
            </p:cNvPr>
            <p:cNvSpPr/>
            <p:nvPr userDrawn="1"/>
          </p:nvSpPr>
          <p:spPr>
            <a:xfrm>
              <a:off x="9552721" y="1203981"/>
              <a:ext cx="14826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1F8AE9E-4B8A-9E48-8669-C9853A249D82}"/>
                </a:ext>
              </a:extLst>
            </p:cNvPr>
            <p:cNvSpPr/>
            <p:nvPr userDrawn="1"/>
          </p:nvSpPr>
          <p:spPr>
            <a:xfrm>
              <a:off x="9618398" y="1320692"/>
              <a:ext cx="1460280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A43DF850-F8DA-9A4F-A9A4-0D9AAD65685F}"/>
                </a:ext>
              </a:extLst>
            </p:cNvPr>
            <p:cNvSpPr/>
            <p:nvPr userDrawn="1"/>
          </p:nvSpPr>
          <p:spPr>
            <a:xfrm rot="16200000">
              <a:off x="7335022" y="3370643"/>
              <a:ext cx="4450040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DB35AD5C-8478-8E4E-98D3-32BC46C27148}"/>
                </a:ext>
              </a:extLst>
            </p:cNvPr>
            <p:cNvSpPr/>
            <p:nvPr userDrawn="1"/>
          </p:nvSpPr>
          <p:spPr>
            <a:xfrm rot="16200000">
              <a:off x="7510091" y="3428998"/>
              <a:ext cx="4333326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C5E48F8A-E28A-FB4B-B7D2-9FB364C19165}"/>
                </a:ext>
              </a:extLst>
            </p:cNvPr>
            <p:cNvSpPr/>
            <p:nvPr userDrawn="1"/>
          </p:nvSpPr>
          <p:spPr>
            <a:xfrm>
              <a:off x="0" y="5420595"/>
              <a:ext cx="957261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63ECE769-2F0D-354F-8005-B0E084BFBE6D}"/>
                </a:ext>
              </a:extLst>
            </p:cNvPr>
            <p:cNvSpPr/>
            <p:nvPr userDrawn="1"/>
          </p:nvSpPr>
          <p:spPr>
            <a:xfrm>
              <a:off x="0" y="5537306"/>
              <a:ext cx="966417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ABADAE6B-754B-4148-902D-7F291DD0F7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7EC5B62-5641-E247-A8B8-460001BE7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2">
            <a:extLst>
              <a:ext uri="{FF2B5EF4-FFF2-40B4-BE49-F238E27FC236}">
                <a16:creationId xmlns:a16="http://schemas.microsoft.com/office/drawing/2014/main" id="{67A20382-9199-2847-97B8-8288D88F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4" name="Subtitle">
            <a:extLst>
              <a:ext uri="{FF2B5EF4-FFF2-40B4-BE49-F238E27FC236}">
                <a16:creationId xmlns:a16="http://schemas.microsoft.com/office/drawing/2014/main" id="{390AD8CB-CC7E-984F-9F6D-99A3A55A0A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pic>
        <p:nvPicPr>
          <p:cNvPr id="45" name="Picture 44" descr="McGraw Hill cube Logo">
            <a:extLst>
              <a:ext uri="{FF2B5EF4-FFF2-40B4-BE49-F238E27FC236}">
                <a16:creationId xmlns:a16="http://schemas.microsoft.com/office/drawing/2014/main" id="{69BF1FB9-C8BA-C141-BB8B-638E1DEEC6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  <p:sp>
        <p:nvSpPr>
          <p:cNvPr id="65" name="Name &amp; Surname">
            <a:extLst>
              <a:ext uri="{FF2B5EF4-FFF2-40B4-BE49-F238E27FC236}">
                <a16:creationId xmlns:a16="http://schemas.microsoft.com/office/drawing/2014/main" id="{434E83B2-513B-D840-ACC2-97CDC476F0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6" name="Numeral Date">
            <a:extLst>
              <a:ext uri="{FF2B5EF4-FFF2-40B4-BE49-F238E27FC236}">
                <a16:creationId xmlns:a16="http://schemas.microsoft.com/office/drawing/2014/main" id="{FC4E2726-14C8-B14D-9721-7807227392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10DFA6-01F6-0757-3388-4125680AE6B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354319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VIOLET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Four young people collaborate around a table. They use a laptop, textbook, smartphone, and sticky notes. Each has a relaxed, but intent, expression.&#10;">
            <a:extLst>
              <a:ext uri="{FF2B5EF4-FFF2-40B4-BE49-F238E27FC236}">
                <a16:creationId xmlns:a16="http://schemas.microsoft.com/office/drawing/2014/main" id="{7FC1136F-CA1A-304F-BD87-6F5AD28DF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0053" y="0"/>
            <a:ext cx="12232106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001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A210F576-544A-CEAC-3E61-8A8D67FDB6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1DA6AA1F-7BBE-D1AD-AD1F-C4AFC62C94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29C2F1D-5554-DDC9-02AE-906934B59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4085043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8BA3C0C5-F112-F484-ECD8-531C8D339A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DAE621AD-BA72-B1A5-3402-74C1B2E4DD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CD6DDB3-128C-CADE-AE3E-921A19D835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3875740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424A5EE1-F1FD-B460-8956-BCE847515B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45B31E94-5DB4-9A14-F934-E25215461A5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B26C7E3B-6F5C-CDE9-061A-297F5473CA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DA3A8863-2B69-0D33-13BA-80ACAFA112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86B534F4-22A8-5E4C-F4FE-C95F8A9253C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6E297E9E-72E3-45CD-2CE0-8FCA6B335AD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B65CF966-233B-A64C-3964-34087DD3CDA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7D57079D-6FBC-F402-1F73-376DBC7B027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BFCC252E-79D1-9413-CBF9-D4A68D0C6D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74C85F6F-4418-EB83-5AD2-7D1A5B7EE65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0BA9D89-5898-926B-F580-BA00D0C4B1B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449D3811-7FC3-FCBB-3726-4DC59A57734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3" name="Body Text">
            <a:extLst>
              <a:ext uri="{FF2B5EF4-FFF2-40B4-BE49-F238E27FC236}">
                <a16:creationId xmlns:a16="http://schemas.microsoft.com/office/drawing/2014/main" id="{C28A47CA-3763-85C4-C933-D2F62FFB20A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9762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A4B347B6-3A82-3AC2-864B-EB512C2D8F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C6611997-54C5-6B87-858A-DFE22A9ECB4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EC5C3E68-D584-21B6-4B21-2A05B5C601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7FD4EBC2-5816-21BE-479D-5F82B75024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54748D3-698C-84EA-2EF1-78272F13090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2667B3A-35FA-E008-FA32-0053746B30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4A054557-76B5-2371-D87B-C19391139E3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1E5A92C-CDFC-572F-7F61-E98329CD4A2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7D21B69A-E35A-CBF5-C16D-8E3C2AA837A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63D08A8D-E78B-1AA6-03A4-114E0B9C5E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7255E978-E783-9201-2D84-F6D7F963EDD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BCDED6F5-1D6A-02AC-F0DA-921B227BE20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39F1054F-EFDC-6754-D8B8-C4715EAF71C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638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75831230-61E5-66E5-16D8-2064453203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30C9D29D-E415-8E19-7A25-8C59E4AA4B5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C5754ACC-708A-22BA-D48B-CC49B2007A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0205775-38D4-FE35-EEA0-8C81EE9399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FFA15769-525D-2C04-B873-5FC6C886028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A11F21FA-6969-7AAE-37BA-8F52DADE0B5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B0ADFB59-55B1-71FD-A662-9E8571C018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F1BD6364-5BE9-4F02-B90E-2AD80283361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6E9784CB-5420-4B46-2EB6-4875D69C461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95F38C3F-77E9-47F1-309B-982253573D9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2394D9DC-5A74-F59A-923F-9126E094CB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98C7A80D-3A82-7597-22B0-492161981A3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6BC137E1-6F3A-6BF7-1FD5-B4B93BD05B4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1133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81A921E9-43B1-A64F-B9DA-CFC5BD8374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18" descr="McGraw Hill Logo">
            <a:extLst>
              <a:ext uri="{FF2B5EF4-FFF2-40B4-BE49-F238E27FC236}">
                <a16:creationId xmlns:a16="http://schemas.microsoft.com/office/drawing/2014/main" id="{AC15184A-376C-3847-A9F0-FFA9008CF0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181" y="1452056"/>
            <a:ext cx="703182" cy="703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96656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05BB067E-F917-E8BD-9D12-40D966FC8BD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55242E1-DCE5-2EB8-B85C-B0537FD5A3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rgbClr val="E5E5E5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985509E-727A-DB39-85F7-3F93DAE3AC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7" name="Name">
            <a:extLst>
              <a:ext uri="{FF2B5EF4-FFF2-40B4-BE49-F238E27FC236}">
                <a16:creationId xmlns:a16="http://schemas.microsoft.com/office/drawing/2014/main" id="{B3932FF3-249E-EB90-D795-2F6A1349C6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8" name="Email">
            <a:extLst>
              <a:ext uri="{FF2B5EF4-FFF2-40B4-BE49-F238E27FC236}">
                <a16:creationId xmlns:a16="http://schemas.microsoft.com/office/drawing/2014/main" id="{BF70833C-2796-3AB6-9BDB-FA16B94E58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Phone">
            <a:extLst>
              <a:ext uri="{FF2B5EF4-FFF2-40B4-BE49-F238E27FC236}">
                <a16:creationId xmlns:a16="http://schemas.microsoft.com/office/drawing/2014/main" id="{BFF0DF67-2A6C-A225-F335-0B98168B1D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Linkedin">
            <a:extLst>
              <a:ext uri="{FF2B5EF4-FFF2-40B4-BE49-F238E27FC236}">
                <a16:creationId xmlns:a16="http://schemas.microsoft.com/office/drawing/2014/main" id="{2D8D486A-9449-ED06-5819-BBBCDF3211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17" name="Website">
            <a:extLst>
              <a:ext uri="{FF2B5EF4-FFF2-40B4-BE49-F238E27FC236}">
                <a16:creationId xmlns:a16="http://schemas.microsoft.com/office/drawing/2014/main" id="{4927CA2F-2EA3-213C-D292-F5B4AE6676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EC1E8E5-D8DC-FDDF-BD53-917C9FAF80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765A5F66-5E25-B280-EB1F-6834BB89D6F8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5BCAE2CE-F803-94F4-321E-48A104EF871E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34880DFC-4EC1-8246-F7DC-1D4B2510253E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670E976F-0B73-8642-8D66-3192EE5E2971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EB55618A-0F56-ABC2-6022-E7A09006C2A0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455FB624-603C-81DE-1680-A1AC7F28B789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9CADDAF0-1E2C-CAAD-D609-57143A2BE340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2E89F197-7220-6CA2-951C-442E614E7E7F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165604F5-5C2B-4F57-46AB-4FEA640C8A6B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33A3CB74-6A04-282E-E053-0112A8787B51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FF1ED3F-1A2C-7A34-0E50-882423C3575C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EC21F6E-1B49-15C9-3067-6506810CF18E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A3FE3FBF-B9B5-3345-FB8A-5D679920FAA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25" name="Parallelogram 24">
                  <a:extLst>
                    <a:ext uri="{FF2B5EF4-FFF2-40B4-BE49-F238E27FC236}">
                      <a16:creationId xmlns:a16="http://schemas.microsoft.com/office/drawing/2014/main" id="{9E71666D-27CF-390C-D2B0-93CFD70E6A98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6" name="Parallelogram 25">
                  <a:extLst>
                    <a:ext uri="{FF2B5EF4-FFF2-40B4-BE49-F238E27FC236}">
                      <a16:creationId xmlns:a16="http://schemas.microsoft.com/office/drawing/2014/main" id="{E4FB9DA5-DA53-7DCF-98B0-A41937BCF88A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C47A0052-7CE6-B332-92D9-706143747E84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23" name="Parallelogram 61">
                  <a:extLst>
                    <a:ext uri="{FF2B5EF4-FFF2-40B4-BE49-F238E27FC236}">
                      <a16:creationId xmlns:a16="http://schemas.microsoft.com/office/drawing/2014/main" id="{0154C05D-843E-009C-BA23-5FF468F8D6EB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4" name="Parallelogram 61">
                  <a:extLst>
                    <a:ext uri="{FF2B5EF4-FFF2-40B4-BE49-F238E27FC236}">
                      <a16:creationId xmlns:a16="http://schemas.microsoft.com/office/drawing/2014/main" id="{0174978C-06F2-A759-62F0-4F7C4F794660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372543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EDE3686-DB2A-E63C-9903-A8244C6A11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 descr="McGraw Hill red cube Logo">
            <a:extLst>
              <a:ext uri="{FF2B5EF4-FFF2-40B4-BE49-F238E27FC236}">
                <a16:creationId xmlns:a16="http://schemas.microsoft.com/office/drawing/2014/main" id="{F0D525F2-F9A7-7A73-4B30-ACE22BC64B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55580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CA2A2D41-DD4C-5142-BB67-1F26B8A758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8647846-01CE-514B-90CE-D4C484DE0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 descr="McGraw Hill red cube Logo">
            <a:extLst>
              <a:ext uri="{FF2B5EF4-FFF2-40B4-BE49-F238E27FC236}">
                <a16:creationId xmlns:a16="http://schemas.microsoft.com/office/drawing/2014/main" id="{B4836203-0CB8-F644-8793-692AE7EC3A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88556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622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userDrawn="1">
          <p15:clr>
            <a:srgbClr val="FBAE40"/>
          </p15:clr>
        </p15:guide>
        <p15:guide id="7" pos="483" userDrawn="1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54440BB0-874B-1C48-9D14-D93811C53E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1" name="Name &amp; Surname">
            <a:extLst>
              <a:ext uri="{FF2B5EF4-FFF2-40B4-BE49-F238E27FC236}">
                <a16:creationId xmlns:a16="http://schemas.microsoft.com/office/drawing/2014/main" id="{D33C7042-0669-6148-9FAC-1EA8D47DBC3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0002E01B-5919-1E48-8DB8-F4682B5973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cube Logo">
            <a:extLst>
              <a:ext uri="{FF2B5EF4-FFF2-40B4-BE49-F238E27FC236}">
                <a16:creationId xmlns:a16="http://schemas.microsoft.com/office/drawing/2014/main" id="{6239E6B2-39D4-6948-B6F9-CFE0B3566D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289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66A961-BB2B-B54F-BFAB-BDA9367AED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32427A80-5FB3-1A49-8DC5-A073AD2F5B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19BD590-2BD8-1345-96AC-71997DB3D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4" name="Body Text">
            <a:extLst>
              <a:ext uri="{FF2B5EF4-FFF2-40B4-BE49-F238E27FC236}">
                <a16:creationId xmlns:a16="http://schemas.microsoft.com/office/drawing/2014/main" id="{304C3CA5-856F-2F4D-9D50-08DD3F11F8B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1" name="Column 1">
            <a:extLst>
              <a:ext uri="{FF2B5EF4-FFF2-40B4-BE49-F238E27FC236}">
                <a16:creationId xmlns:a16="http://schemas.microsoft.com/office/drawing/2014/main" id="{09D023D1-AA6B-9646-A78E-0089EAAEBF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Column 2">
            <a:extLst>
              <a:ext uri="{FF2B5EF4-FFF2-40B4-BE49-F238E27FC236}">
                <a16:creationId xmlns:a16="http://schemas.microsoft.com/office/drawing/2014/main" id="{A028DF26-A643-9E46-88A5-7D66AB1A21F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0BC10B7E-FB9A-3449-BA9D-B470A0390DF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35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24" userDrawn="1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077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833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896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901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0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L. H.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856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070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 userDrawn="1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495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Pie Char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6648C4D-D816-204A-B723-761FDB2941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53281EAB-F476-BB40-9FAD-E65D90D2C3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390110-5AD8-874C-AE1F-E0FB2ECFB94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C5A7534-3DAA-9741-9B2A-18B0C4851A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12A4A311-C970-5B47-B8B4-279475D834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2064520"/>
            <a:ext cx="4222331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4A1DD1E-0FD4-334D-AC0E-B10F7CCB6E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2595" y="2898212"/>
            <a:ext cx="4603750" cy="345146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</a:t>
            </a:r>
          </a:p>
          <a:p>
            <a:pPr lvl="0"/>
            <a:r>
              <a:rPr lang="en-US" err="1"/>
              <a:t>Elitsed</a:t>
            </a:r>
            <a:r>
              <a:rPr lang="en-US"/>
              <a:t> diam </a:t>
            </a:r>
            <a:r>
              <a:rPr lang="en-US" err="1"/>
              <a:t>nonumm</a:t>
            </a:r>
            <a:r>
              <a:rPr lang="en-US"/>
              <a:t> </a:t>
            </a:r>
            <a:r>
              <a:rPr lang="en-US" err="1"/>
              <a:t>y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</a:t>
            </a:r>
            <a:r>
              <a:rPr lang="en-US"/>
              <a:t> </a:t>
            </a:r>
            <a:r>
              <a:rPr lang="en-US" err="1"/>
              <a:t>ter</a:t>
            </a:r>
            <a:r>
              <a:rPr lang="en-US"/>
              <a:t> pat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301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152" userDrawn="1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251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Lin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0979F1B-0C1D-4D46-9688-E70042C91F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B60AC181-A0E8-C848-B86F-709FE51408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C5E5542-63AF-264A-9B02-20F2AE5C86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3" y="1042826"/>
            <a:ext cx="4290529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880449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F873E0C-0627-D042-9703-1082CC31C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442212F1-2279-1344-BAF9-2D55C3372D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EAAC9DE-6713-2148-84D1-A07827E47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8AE632E4-8081-4C4C-93AA-8BA65412F7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2522" y="3249621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9" name="Column 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7994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0" name="Subtitle 2">
            <a:extLst>
              <a:ext uri="{FF2B5EF4-FFF2-40B4-BE49-F238E27FC236}">
                <a16:creationId xmlns:a16="http://schemas.microsoft.com/office/drawing/2014/main" id="{736B6D3D-9619-D84B-95A2-F3E1C1AC6D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97417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1" name="Column 2">
            <a:extLst>
              <a:ext uri="{FF2B5EF4-FFF2-40B4-BE49-F238E27FC236}">
                <a16:creationId xmlns:a16="http://schemas.microsoft.com/office/drawing/2014/main" id="{33CFB3D8-4385-F845-A13A-64C1CF8639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32889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4" name="Subtitle 3">
            <a:extLst>
              <a:ext uri="{FF2B5EF4-FFF2-40B4-BE49-F238E27FC236}">
                <a16:creationId xmlns:a16="http://schemas.microsoft.com/office/drawing/2014/main" id="{BE099D4A-DC27-5241-986A-5206F128171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87928" y="3237763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5" name="Column 3">
            <a:extLst>
              <a:ext uri="{FF2B5EF4-FFF2-40B4-BE49-F238E27FC236}">
                <a16:creationId xmlns:a16="http://schemas.microsoft.com/office/drawing/2014/main" id="{3FB1514F-7252-9A47-9F31-9DF3A0FDA3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23400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6" name="Subtitle 4">
            <a:extLst>
              <a:ext uri="{FF2B5EF4-FFF2-40B4-BE49-F238E27FC236}">
                <a16:creationId xmlns:a16="http://schemas.microsoft.com/office/drawing/2014/main" id="{36EF0826-D37B-ED42-A4D1-0E9D953AC1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78439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7" name="Column 4">
            <a:extLst>
              <a:ext uri="{FF2B5EF4-FFF2-40B4-BE49-F238E27FC236}">
                <a16:creationId xmlns:a16="http://schemas.microsoft.com/office/drawing/2014/main" id="{CB5A08EF-59FA-A34E-A79B-E69C2515DB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13911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817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Double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010714B-F67D-BB4E-BD72-F5575995A6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355C42A9-CCA2-A241-8EFB-F2646A8476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8F93229-4B98-4D48-95A2-B2901D647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49" name="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4462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6" name="2">
            <a:extLst>
              <a:ext uri="{FF2B5EF4-FFF2-40B4-BE49-F238E27FC236}">
                <a16:creationId xmlns:a16="http://schemas.microsoft.com/office/drawing/2014/main" id="{D17D20DF-7F50-7847-AA55-BE4484E366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2219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7" name="3">
            <a:extLst>
              <a:ext uri="{FF2B5EF4-FFF2-40B4-BE49-F238E27FC236}">
                <a16:creationId xmlns:a16="http://schemas.microsoft.com/office/drawing/2014/main" id="{FEED5375-BE04-DD48-860C-ADC9A4187C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89976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8" name="4">
            <a:extLst>
              <a:ext uri="{FF2B5EF4-FFF2-40B4-BE49-F238E27FC236}">
                <a16:creationId xmlns:a16="http://schemas.microsoft.com/office/drawing/2014/main" id="{D3C9ED7B-28DB-214B-B183-0B2D936B682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37733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9" name="5">
            <a:extLst>
              <a:ext uri="{FF2B5EF4-FFF2-40B4-BE49-F238E27FC236}">
                <a16:creationId xmlns:a16="http://schemas.microsoft.com/office/drawing/2014/main" id="{836F4DC2-D0EF-D54B-863B-E592B01A8A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4462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0" name="6">
            <a:extLst>
              <a:ext uri="{FF2B5EF4-FFF2-40B4-BE49-F238E27FC236}">
                <a16:creationId xmlns:a16="http://schemas.microsoft.com/office/drawing/2014/main" id="{AF98966C-9920-C44A-A83D-2612A077A86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42219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1" name="7">
            <a:extLst>
              <a:ext uri="{FF2B5EF4-FFF2-40B4-BE49-F238E27FC236}">
                <a16:creationId xmlns:a16="http://schemas.microsoft.com/office/drawing/2014/main" id="{D1984EE8-D54B-A744-A37B-DEBCFC6007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789976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2" name="8">
            <a:extLst>
              <a:ext uri="{FF2B5EF4-FFF2-40B4-BE49-F238E27FC236}">
                <a16:creationId xmlns:a16="http://schemas.microsoft.com/office/drawing/2014/main" id="{7B40AD15-439C-BA4F-9047-4B8A86FDFB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37733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91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Graph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7E5B97-5140-1342-B6ED-D224671367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D17B5A40-4A38-5248-B89D-84C868D1FA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0F2683A-ECA5-9C4E-BF91-067F9FA63B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1">
            <a:extLst>
              <a:ext uri="{FF2B5EF4-FFF2-40B4-BE49-F238E27FC236}">
                <a16:creationId xmlns:a16="http://schemas.microsoft.com/office/drawing/2014/main" id="{6877937D-3DA9-CD4C-8F73-B4C57F6B89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32054" y="24828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0" name="1 Copy">
            <a:extLst>
              <a:ext uri="{FF2B5EF4-FFF2-40B4-BE49-F238E27FC236}">
                <a16:creationId xmlns:a16="http://schemas.microsoft.com/office/drawing/2014/main" id="{45956B13-ADB8-FB42-9D61-0934942431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68641" y="244089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4" name="2">
            <a:extLst>
              <a:ext uri="{FF2B5EF4-FFF2-40B4-BE49-F238E27FC236}">
                <a16:creationId xmlns:a16="http://schemas.microsoft.com/office/drawing/2014/main" id="{BEE0936E-7081-7D41-B93D-0E5933D3FD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49830" y="307515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1" name="2 Copy">
            <a:extLst>
              <a:ext uri="{FF2B5EF4-FFF2-40B4-BE49-F238E27FC236}">
                <a16:creationId xmlns:a16="http://schemas.microsoft.com/office/drawing/2014/main" id="{DBCBFBE9-4518-D945-963C-3573703678A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68641" y="3038674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3">
            <a:extLst>
              <a:ext uri="{FF2B5EF4-FFF2-40B4-BE49-F238E27FC236}">
                <a16:creationId xmlns:a16="http://schemas.microsoft.com/office/drawing/2014/main" id="{49567076-20B4-3642-8E2F-792E66F7EF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0470" y="366017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2" name="3 Copy">
            <a:extLst>
              <a:ext uri="{FF2B5EF4-FFF2-40B4-BE49-F238E27FC236}">
                <a16:creationId xmlns:a16="http://schemas.microsoft.com/office/drawing/2014/main" id="{689E5928-A1E4-6243-A711-E0A1F28C3DC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68641" y="3636458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6" name="4">
            <a:extLst>
              <a:ext uri="{FF2B5EF4-FFF2-40B4-BE49-F238E27FC236}">
                <a16:creationId xmlns:a16="http://schemas.microsoft.com/office/drawing/2014/main" id="{A286B0CE-7439-0843-88F7-DD73DB9034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60586" y="4281061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3" name="4 Copy">
            <a:extLst>
              <a:ext uri="{FF2B5EF4-FFF2-40B4-BE49-F238E27FC236}">
                <a16:creationId xmlns:a16="http://schemas.microsoft.com/office/drawing/2014/main" id="{0CC7A3C0-0C37-154F-9CC8-FF8A82DFE13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68641" y="4234242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7" name="5">
            <a:extLst>
              <a:ext uri="{FF2B5EF4-FFF2-40B4-BE49-F238E27FC236}">
                <a16:creationId xmlns:a16="http://schemas.microsoft.com/office/drawing/2014/main" id="{D35007DD-4D32-744C-9E0C-CC04D81DFF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60586" y="486029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5" name="5 Copy">
            <a:extLst>
              <a:ext uri="{FF2B5EF4-FFF2-40B4-BE49-F238E27FC236}">
                <a16:creationId xmlns:a16="http://schemas.microsoft.com/office/drawing/2014/main" id="{DEE6D165-02D6-C142-9029-62B0DDA96A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68641" y="4832026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8" name="6">
            <a:extLst>
              <a:ext uri="{FF2B5EF4-FFF2-40B4-BE49-F238E27FC236}">
                <a16:creationId xmlns:a16="http://schemas.microsoft.com/office/drawing/2014/main" id="{3F434AC7-9FE2-4945-B806-6357E326DA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57312" y="54546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4" name="6 Copy">
            <a:extLst>
              <a:ext uri="{FF2B5EF4-FFF2-40B4-BE49-F238E27FC236}">
                <a16:creationId xmlns:a16="http://schemas.microsoft.com/office/drawing/2014/main" id="{CD847155-579D-9044-9614-337C9A88263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68641" y="542981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120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 – Tabl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2671B7B-445E-B64B-8114-C3FF49315F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6" name="Chapter Title">
            <a:extLst>
              <a:ext uri="{FF2B5EF4-FFF2-40B4-BE49-F238E27FC236}">
                <a16:creationId xmlns:a16="http://schemas.microsoft.com/office/drawing/2014/main" id="{4F973414-A48D-024D-8D5D-555A01E509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404CC2A3-2ED5-DB4A-A828-ED53650C053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B25ADB5-7546-5143-B79B-78DCA81BF1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842681"/>
            <a:ext cx="10752234" cy="748230"/>
          </a:xfrm>
        </p:spPr>
        <p:txBody>
          <a:bodyPr anchor="b"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3381096E-0A87-A446-B08F-AFD6FBB17D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1648610"/>
            <a:ext cx="10752236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152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/ Copy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351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912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77129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6131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D458F59-CF19-9D49-C2AB-3C48D4C196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74AB1EBE-4491-4616-D7DF-4C6FCC615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52310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C595D9C4-58B3-A9CC-9598-24F869DC76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1318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150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841" y="1825625"/>
            <a:ext cx="11315911" cy="4351338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Magazine Grotesque" pitchFamily="2" charset="77"/>
              </a:defRPr>
            </a:lvl1pPr>
            <a:lvl2pPr>
              <a:defRPr b="0" i="0">
                <a:latin typeface="Magazine Grotesque" pitchFamily="2" charset="77"/>
              </a:defRPr>
            </a:lvl2pPr>
            <a:lvl3pPr>
              <a:defRPr b="0" i="0">
                <a:latin typeface="Magazine Grotesque" pitchFamily="2" charset="77"/>
              </a:defRPr>
            </a:lvl3pPr>
            <a:lvl4pPr>
              <a:defRPr b="0" i="0">
                <a:latin typeface="Magazine Grotesque" pitchFamily="2" charset="77"/>
              </a:defRPr>
            </a:lvl4pPr>
            <a:lvl5pPr>
              <a:defRPr b="0" i="0"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7121C30A-2478-DD68-AA01-B696BF05B4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97088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697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583142"/>
          </a:xfrm>
        </p:spPr>
        <p:txBody>
          <a:bodyPr vert="horz">
            <a:normAutofit/>
          </a:bodyPr>
          <a:lstStyle>
            <a:lvl1pPr>
              <a:defRPr sz="2800">
                <a:latin typeface="Magazine Grotesque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285" y="1018117"/>
            <a:ext cx="11313466" cy="5158846"/>
          </a:xfrm>
          <a:prstGeom prst="rect">
            <a:avLst/>
          </a:prstGeom>
        </p:spPr>
        <p:txBody>
          <a:bodyPr/>
          <a:lstStyle>
            <a:lvl1pPr>
              <a:defRPr>
                <a:latin typeface="Magazine Grotesque" pitchFamily="2" charset="77"/>
              </a:defRPr>
            </a:lvl1pPr>
            <a:lvl2pPr>
              <a:defRPr>
                <a:latin typeface="Magazine Grotesque" pitchFamily="2" charset="77"/>
              </a:defRPr>
            </a:lvl2pPr>
            <a:lvl3pPr>
              <a:defRPr>
                <a:latin typeface="Magazine Grotesque" pitchFamily="2" charset="77"/>
              </a:defRPr>
            </a:lvl3pPr>
            <a:lvl4pPr>
              <a:defRPr>
                <a:latin typeface="Magazine Grotesque" pitchFamily="2" charset="77"/>
              </a:defRPr>
            </a:lvl4pPr>
            <a:lvl5pPr>
              <a:defRPr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845EB33-BC40-B541-2DE3-635AE372BC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76740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2D4F08D-BE1E-443D-8782-37662CDDF2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899AE9EF-61EB-ACFA-4820-EBD3F6BBD8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E05E0AA-A4C4-9006-5021-1A09E19FCA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40583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22047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Red">
    <p:bg>
      <p:bgPr>
        <a:solidFill>
          <a:srgbClr val="D023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E2B1DE6-88E8-5940-A140-CEFB25E44F8E}"/>
              </a:ext>
            </a:extLst>
          </p:cNvPr>
          <p:cNvGrpSpPr/>
          <p:nvPr userDrawn="1"/>
        </p:nvGrpSpPr>
        <p:grpSpPr>
          <a:xfrm>
            <a:off x="4881651" y="1981444"/>
            <a:ext cx="1448597" cy="1447556"/>
            <a:chOff x="6811876" y="1647187"/>
            <a:chExt cx="1448597" cy="1447556"/>
          </a:xfrm>
          <a:solidFill>
            <a:srgbClr val="CF2330"/>
          </a:solidFill>
        </p:grpSpPr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5721BDD7-D6BA-9649-A6F4-0BD415AF2BBF}"/>
                </a:ext>
              </a:extLst>
            </p:cNvPr>
            <p:cNvSpPr/>
            <p:nvPr/>
          </p:nvSpPr>
          <p:spPr>
            <a:xfrm>
              <a:off x="6811876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5FD3D976-7A1B-2F46-AA9C-FA3A12C5BBFB}"/>
                </a:ext>
              </a:extLst>
            </p:cNvPr>
            <p:cNvSpPr/>
            <p:nvPr/>
          </p:nvSpPr>
          <p:spPr>
            <a:xfrm>
              <a:off x="7359631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ABBAC0A5-63D6-614C-8289-4285E5C9A790}"/>
                </a:ext>
              </a:extLst>
            </p:cNvPr>
            <p:cNvSpPr/>
            <p:nvPr/>
          </p:nvSpPr>
          <p:spPr>
            <a:xfrm>
              <a:off x="6811876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9A6C329C-9F49-674D-BE6B-CD803B5FD671}"/>
                </a:ext>
              </a:extLst>
            </p:cNvPr>
            <p:cNvSpPr/>
            <p:nvPr/>
          </p:nvSpPr>
          <p:spPr>
            <a:xfrm>
              <a:off x="7359631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3AA23DE-9635-6412-5B6C-4805B44D61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DE06899-4B4E-2102-66E0-D77B3B40FD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2C58259-AE6E-64AC-051F-5732D61AEEF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2">
            <a:extLst>
              <a:ext uri="{FF2B5EF4-FFF2-40B4-BE49-F238E27FC236}">
                <a16:creationId xmlns:a16="http://schemas.microsoft.com/office/drawing/2014/main" id="{B52EF902-D983-5F8B-3016-8434C60F7C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9AE8B7C-8817-1AB6-CFA8-C9FB6B45D8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648284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-Pink">
    <p:bg>
      <p:bgPr>
        <a:solidFill>
          <a:srgbClr val="F57E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4F9CC8-40EA-727F-B4C5-375BA4128C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A986FFF-E5EB-6060-A806-31D3A19291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6241993-9B36-94BA-B100-31BD0F97012C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CAE09AD-9EF3-5145-CBD6-0B07557519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CA38BE7-9D59-AE99-EAFE-3C7A12321E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45609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School Bus">
    <p:bg>
      <p:bgPr>
        <a:solidFill>
          <a:srgbClr val="F7A3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993E68-347E-3FDE-ED81-6B1A358C1F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32ACC53-AFB8-B50A-5774-291260F45A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78D9F8B-A123-0ABF-BF76-DDAED5EB9697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27B8CB88-27E5-0001-71B8-27C9E8157CC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77752FC-31AC-31FD-3BC7-B921363C30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54031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Pink">
    <p:bg>
      <p:bgPr>
        <a:solidFill>
          <a:srgbClr val="F8B5B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579E66-55D7-8DB0-F033-35722CC012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EB8F7CF-6101-40E5-0A6D-9349817F16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B403343-90AC-F034-0A23-0078D1BAC4B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423447F-FBF7-09FD-F74B-F45BAEA269B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074FC0B-E844-EC17-677B-0D8820D63A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67548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New Pink">
    <p:bg>
      <p:bgPr>
        <a:solidFill>
          <a:srgbClr val="FAD2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8EFA60-78F3-8B23-C7C7-E4845471E9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703B7DF-5404-9872-A5D2-95007F07D3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52F7702-2618-9B92-15C3-05C9A7A9CE5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667FDE22-E217-2D1E-77F6-5690AABB8C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1A10CBB-8EAE-F407-6C3C-B83304AE5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33731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Lt. Gre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95DEF1-A907-F258-BE12-C59E95BBB7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51DA41C-D0B1-AD27-F710-DDAE323E20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4157273-9671-116E-15A9-34D8FB1836D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7547D791-D560-6AF4-BA19-3F7D8CDF973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657A61D-7CAB-5542-B874-288252F399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7988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Display Date">
            <a:extLst>
              <a:ext uri="{FF2B5EF4-FFF2-40B4-BE49-F238E27FC236}">
                <a16:creationId xmlns:a16="http://schemas.microsoft.com/office/drawing/2014/main" id="{EAD50B81-779F-8B92-2873-78302959C0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6" name="Name &amp; Surname">
            <a:extLst>
              <a:ext uri="{FF2B5EF4-FFF2-40B4-BE49-F238E27FC236}">
                <a16:creationId xmlns:a16="http://schemas.microsoft.com/office/drawing/2014/main" id="{B78998DC-34A4-E505-E5B2-065B7AD50D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21270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900189-5AA2-7FD6-A83C-7485413478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2A94F57-B22C-FA69-3F5A-1800DAF867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24C75A6-0676-0707-2DA0-9F4F2B6E0D42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02B3A761-F93E-768E-678B-6A2853A798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0B2227A-AB96-E66D-6959-34F64E1FB2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56080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808358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94C621B4-9BA6-FE43-9C64-9788F9AAAA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0" name="Picture 9" descr="McGraw Hill cube Logo">
            <a:extLst>
              <a:ext uri="{FF2B5EF4-FFF2-40B4-BE49-F238E27FC236}">
                <a16:creationId xmlns:a16="http://schemas.microsoft.com/office/drawing/2014/main" id="{DA944CFB-F2AB-1F4B-A4C9-0C1C0870C6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450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090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281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8582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75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6792C61-A2E3-D441-8137-CB45AFE082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E6919F8-F58F-2A4A-98F5-FDE984CD97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84A42B3-C875-7246-A333-E68DA98D95DB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472291B4-31A1-FC4C-9218-CC71C5ECF3DC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E9130DD8-37F0-BF47-8443-E9DE9187AB2F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0CD89C06-927B-1048-857D-F555B58E9E09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57E0C0AC-9BA1-214B-8145-543EE42ED6E9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D4538913-9335-E444-BF4E-F794A08ED497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B0E2A164-33EF-A54E-9F2D-524ABD561FD8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84A060C7-32C6-3044-9FCC-1367B695FF14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A19BE616-B0FC-664F-8D2F-6A3F97AB1633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5EF27DDE-4D35-EC48-99B6-93AD172168ED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5B9AE42F-8A3D-BD41-8E8C-B03D6F2AABFD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018B7F2-7545-1A40-8767-8909D3F4819C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86F24CA8-7119-C74B-961C-0D182044791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0" name="Parallelogram 39">
                  <a:extLst>
                    <a:ext uri="{FF2B5EF4-FFF2-40B4-BE49-F238E27FC236}">
                      <a16:creationId xmlns:a16="http://schemas.microsoft.com/office/drawing/2014/main" id="{4ECDA969-3B93-0041-8812-9414A9750FCE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1" name="Parallelogram 40">
                  <a:extLst>
                    <a:ext uri="{FF2B5EF4-FFF2-40B4-BE49-F238E27FC236}">
                      <a16:creationId xmlns:a16="http://schemas.microsoft.com/office/drawing/2014/main" id="{CA5C2512-C76D-6E41-8E09-02263D12AC03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2E6F009D-4DD9-1445-882C-05B6CB71001E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38" name="Parallelogram 61">
                  <a:extLst>
                    <a:ext uri="{FF2B5EF4-FFF2-40B4-BE49-F238E27FC236}">
                      <a16:creationId xmlns:a16="http://schemas.microsoft.com/office/drawing/2014/main" id="{4FF1D96C-C26A-D247-B296-2D1B409294A0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61">
                  <a:extLst>
                    <a:ext uri="{FF2B5EF4-FFF2-40B4-BE49-F238E27FC236}">
                      <a16:creationId xmlns:a16="http://schemas.microsoft.com/office/drawing/2014/main" id="{5610441A-E740-F54A-80F8-0C5A74DE2B3B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1D270C0A-6D12-D543-BBDC-13F13EEF7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1AB0CE1-8D6D-7448-B8CE-6354B4485C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62B1EA1F-4CEF-8943-B26B-D2EE7BECA27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3" name="Numeral Date">
            <a:extLst>
              <a:ext uri="{FF2B5EF4-FFF2-40B4-BE49-F238E27FC236}">
                <a16:creationId xmlns:a16="http://schemas.microsoft.com/office/drawing/2014/main" id="{C75370B1-A29C-D045-93FF-A3FF43E45D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4" name="Name &amp; Surname">
            <a:extLst>
              <a:ext uri="{FF2B5EF4-FFF2-40B4-BE49-F238E27FC236}">
                <a16:creationId xmlns:a16="http://schemas.microsoft.com/office/drawing/2014/main" id="{0FC2ACD5-DFC3-DC4A-AD29-579EDAF07F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0" name="Subtitle">
            <a:extLst>
              <a:ext uri="{FF2B5EF4-FFF2-40B4-BE49-F238E27FC236}">
                <a16:creationId xmlns:a16="http://schemas.microsoft.com/office/drawing/2014/main" id="{360FC992-BC0C-6F41-B636-9B86C8738C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2EA7844D-0BD6-CD4D-8958-F02051CF3E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56" name="Picture 55" descr="McGraw Hill red cube Logo">
            <a:extLst>
              <a:ext uri="{FF2B5EF4-FFF2-40B4-BE49-F238E27FC236}">
                <a16:creationId xmlns:a16="http://schemas.microsoft.com/office/drawing/2014/main" id="{FB8ADFE6-C4A2-E14F-8FFD-6019DBA618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906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40488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436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08C330D-E520-B044-BD7F-823FA39703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625"/>
          <a:stretch/>
        </p:blipFill>
        <p:spPr>
          <a:xfrm>
            <a:off x="0" y="728662"/>
            <a:ext cx="12187066" cy="6129337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8AE447BA-E1FE-7549-9DBC-7AACD8913A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2853" y="1433824"/>
            <a:ext cx="2583634" cy="1183772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3F4F9D-236C-FE44-AC73-5145CBDED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5566" y="2132792"/>
            <a:ext cx="6331352" cy="3515654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08BA20F-287E-A64B-B0E2-6A026B4332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2C589809-6889-304F-BCFD-CB64BE2997D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771E4932-0E80-7849-8F31-59BE3850714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E74A92CB-3D2E-0446-A274-2F2CAA31601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1895650C-4BDD-2C4A-B540-9EC7AF02BBF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Copy 2">
            <a:extLst>
              <a:ext uri="{FF2B5EF4-FFF2-40B4-BE49-F238E27FC236}">
                <a16:creationId xmlns:a16="http://schemas.microsoft.com/office/drawing/2014/main" id="{83FC4E0C-81D0-2843-AF35-C8972AD081A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44" name="Copy 2">
            <a:extLst>
              <a:ext uri="{FF2B5EF4-FFF2-40B4-BE49-F238E27FC236}">
                <a16:creationId xmlns:a16="http://schemas.microsoft.com/office/drawing/2014/main" id="{4ECEB2AE-9816-3A4C-938A-3042348F0EE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Copy 2">
            <a:extLst>
              <a:ext uri="{FF2B5EF4-FFF2-40B4-BE49-F238E27FC236}">
                <a16:creationId xmlns:a16="http://schemas.microsoft.com/office/drawing/2014/main" id="{0538509E-84DE-5B48-9C6C-F12FEB805CE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0" name="Copy 2">
            <a:extLst>
              <a:ext uri="{FF2B5EF4-FFF2-40B4-BE49-F238E27FC236}">
                <a16:creationId xmlns:a16="http://schemas.microsoft.com/office/drawing/2014/main" id="{230F3435-ED54-634F-BEC4-8BA3E46EEE2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Copy 2">
            <a:extLst>
              <a:ext uri="{FF2B5EF4-FFF2-40B4-BE49-F238E27FC236}">
                <a16:creationId xmlns:a16="http://schemas.microsoft.com/office/drawing/2014/main" id="{3832C629-D010-424E-8A08-13B9003331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36" name="Copy 2">
            <a:extLst>
              <a:ext uri="{FF2B5EF4-FFF2-40B4-BE49-F238E27FC236}">
                <a16:creationId xmlns:a16="http://schemas.microsoft.com/office/drawing/2014/main" id="{D446FFD1-F5A6-7C4B-B3E0-9B8AF09F11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52" name="Subtitle">
            <a:extLst>
              <a:ext uri="{FF2B5EF4-FFF2-40B4-BE49-F238E27FC236}">
                <a16:creationId xmlns:a16="http://schemas.microsoft.com/office/drawing/2014/main" id="{409D71C9-875A-1A4D-8CAB-D768AA686F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76028" y="2021714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9D511974-7E30-5F48-9610-8BB584FB3B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6028" y="1648584"/>
            <a:ext cx="2190520" cy="332905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endParaRPr lang="en-US"/>
          </a:p>
        </p:txBody>
      </p:sp>
      <p:sp>
        <p:nvSpPr>
          <p:cNvPr id="26" name="Chapter Title">
            <a:extLst>
              <a:ext uri="{FF2B5EF4-FFF2-40B4-BE49-F238E27FC236}">
                <a16:creationId xmlns:a16="http://schemas.microsoft.com/office/drawing/2014/main" id="{76329F06-79E5-9746-AFE7-EEB9368217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57D0B80-12FD-454F-BA40-B491810A45CD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85277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s_No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9539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86BE882A-7C95-DB46-BB47-D80D783466A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Copy 2">
            <a:extLst>
              <a:ext uri="{FF2B5EF4-FFF2-40B4-BE49-F238E27FC236}">
                <a16:creationId xmlns:a16="http://schemas.microsoft.com/office/drawing/2014/main" id="{8E79F517-E97A-2748-BB37-5253B0C35F4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4" name="Copy 2">
            <a:extLst>
              <a:ext uri="{FF2B5EF4-FFF2-40B4-BE49-F238E27FC236}">
                <a16:creationId xmlns:a16="http://schemas.microsoft.com/office/drawing/2014/main" id="{3B8A7439-D821-E74D-A59D-0A056B5D0A5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53" name="Copy 2">
            <a:extLst>
              <a:ext uri="{FF2B5EF4-FFF2-40B4-BE49-F238E27FC236}">
                <a16:creationId xmlns:a16="http://schemas.microsoft.com/office/drawing/2014/main" id="{31B6FA48-16DD-004A-9464-40670B7009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52" name="Copy 2">
            <a:extLst>
              <a:ext uri="{FF2B5EF4-FFF2-40B4-BE49-F238E27FC236}">
                <a16:creationId xmlns:a16="http://schemas.microsoft.com/office/drawing/2014/main" id="{265B6FF0-F656-0B43-B8D5-E437272BE50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96FFBA0B-358D-D141-BE91-646C0B1AD23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8E55FD44-AA75-3240-B10E-45B18867F87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Copy 2">
            <a:extLst>
              <a:ext uri="{FF2B5EF4-FFF2-40B4-BE49-F238E27FC236}">
                <a16:creationId xmlns:a16="http://schemas.microsoft.com/office/drawing/2014/main" id="{F33E9590-2B13-C240-8A3F-C37F5BF0FA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8" name="Copy 2">
            <a:extLst>
              <a:ext uri="{FF2B5EF4-FFF2-40B4-BE49-F238E27FC236}">
                <a16:creationId xmlns:a16="http://schemas.microsoft.com/office/drawing/2014/main" id="{45AB5212-6841-5641-A6E9-2439AD1F5E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69222BC1-7ACE-A845-B5C4-562B12BD884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FFB5E7A5-06FF-8E41-A206-8FE0483CFA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45" name="Subtitle">
            <a:extLst>
              <a:ext uri="{FF2B5EF4-FFF2-40B4-BE49-F238E27FC236}">
                <a16:creationId xmlns:a16="http://schemas.microsoft.com/office/drawing/2014/main" id="{E6A78EA7-0D45-D84E-9603-8D69EB853F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9052" y="2023690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ADCA9C4C-4F7B-8F4F-A1CD-CFC62E52FC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4118751" cy="332905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2" name="Chapter Title">
            <a:extLst>
              <a:ext uri="{FF2B5EF4-FFF2-40B4-BE49-F238E27FC236}">
                <a16:creationId xmlns:a16="http://schemas.microsoft.com/office/drawing/2014/main" id="{A3C8596E-EA5D-684C-8A87-6E61DFA8A6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E84DAE-CB25-CA46-92DA-96F9B98F3A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418133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140FAE7B-C969-EA4C-B018-E010BFDDB3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0" name="Picture 29" descr="McGraw Hill cube Logo">
            <a:extLst>
              <a:ext uri="{FF2B5EF4-FFF2-40B4-BE49-F238E27FC236}">
                <a16:creationId xmlns:a16="http://schemas.microsoft.com/office/drawing/2014/main" id="{FEAEE38D-F776-C54D-998E-34EC9E04A1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756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044F715-949A-4B0A-5E61-32B593168F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624423C3-3CC8-6B32-9362-91ED190AD4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162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FD39785A-557E-E14B-A935-CDBDBDD4CDA3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E37CF15-892E-7F49-AF0C-7BE439FF32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0838D3D7-DCCD-8346-A433-F53F64323D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0E26DE9-E717-A84D-B0C4-9053EBE19F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9649"/>
            <a:ext cx="11851251" cy="5338782"/>
            <a:chOff x="-14169" y="506202"/>
            <a:chExt cx="11851251" cy="5338782"/>
          </a:xfrm>
          <a:solidFill>
            <a:schemeClr val="bg1"/>
          </a:solidFill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D29C28D-14ED-B84E-8E53-A6BB8329DEDB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89AA42A9-15FB-6749-AE69-FC1D7B7168F3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  <a:grpFill/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62B22248-2D53-E247-AA3F-ED2E1D124D64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F1BFD95-5698-FF43-AD20-66576A3F3D3A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5A044FDD-50FA-1648-9457-EC05013947C0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96C32C9E-D401-6E48-9976-914E453C4AD3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grpFill/>
            </p:grpSpPr>
            <p:sp>
              <p:nvSpPr>
                <p:cNvPr id="38" name="Parallelogram 37">
                  <a:extLst>
                    <a:ext uri="{FF2B5EF4-FFF2-40B4-BE49-F238E27FC236}">
                      <a16:creationId xmlns:a16="http://schemas.microsoft.com/office/drawing/2014/main" id="{71008BFB-11BC-2542-8376-F7BB3B08D447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38">
                  <a:extLst>
                    <a:ext uri="{FF2B5EF4-FFF2-40B4-BE49-F238E27FC236}">
                      <a16:creationId xmlns:a16="http://schemas.microsoft.com/office/drawing/2014/main" id="{BFC3B435-F175-C845-9FEA-61EBC171A2A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9E2D5033-F106-D542-AA2A-50FF984D99EF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C069C5FF-C4F5-3B4E-990A-A42FD42A45F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E887DFBA-3B0F-FA44-9309-DD5EEEB5A3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7B6EED-A51B-1508-D9E2-272A0FFC1A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3" name="Picture 22" descr="McGraw Hill red cube Logo">
            <a:extLst>
              <a:ext uri="{FF2B5EF4-FFF2-40B4-BE49-F238E27FC236}">
                <a16:creationId xmlns:a16="http://schemas.microsoft.com/office/drawing/2014/main" id="{044DDC38-FB28-EF4C-ADCF-A9C98CF649D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241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EEC6ED01-89A0-7B4E-84D8-3604A114E3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238B502-8BAD-5248-B9DE-FB96A0F868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7754"/>
            <a:ext cx="11851251" cy="5338782"/>
            <a:chOff x="-14169" y="506202"/>
            <a:chExt cx="11851251" cy="533878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A8C88DB-8810-E447-8A81-0F3785A8C157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9282E3CE-BD2B-6340-900F-B2BA9F83F177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D9A29EC1-CD07-CB4F-92F6-2FBF0D61BF1C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43A07749-049F-F14B-A2DF-F987E7A19542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BEB25190-E7AE-5641-B401-057448851CBD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DF062EBD-C107-A945-A796-8FBA20908D1F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solidFill>
                <a:srgbClr val="E21A23"/>
              </a:solidFill>
            </p:grpSpPr>
            <p:sp>
              <p:nvSpPr>
                <p:cNvPr id="17" name="Parallelogram 16">
                  <a:extLst>
                    <a:ext uri="{FF2B5EF4-FFF2-40B4-BE49-F238E27FC236}">
                      <a16:creationId xmlns:a16="http://schemas.microsoft.com/office/drawing/2014/main" id="{F6133709-CC2E-AD4D-B22A-55D6A67BD879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" name="Parallelogram 17">
                  <a:extLst>
                    <a:ext uri="{FF2B5EF4-FFF2-40B4-BE49-F238E27FC236}">
                      <a16:creationId xmlns:a16="http://schemas.microsoft.com/office/drawing/2014/main" id="{3D135569-176F-D34C-B1AA-FC3F2A4245B6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08783BD0-5800-864A-85E4-A5FA8CDECACD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092AABA7-D5EC-3E42-92EF-22F71D9466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4E6E17B-B3EE-D24B-8186-59427D04F31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ubtitle">
            <a:extLst>
              <a:ext uri="{FF2B5EF4-FFF2-40B4-BE49-F238E27FC236}">
                <a16:creationId xmlns:a16="http://schemas.microsoft.com/office/drawing/2014/main" id="{316A894F-484A-204F-ABA7-30CBA739C3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32B211AD-4A3A-0F47-97B5-BEA7151AAB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6" name="Picture 25" descr="McGraw Hill red cube Logo">
            <a:extLst>
              <a:ext uri="{FF2B5EF4-FFF2-40B4-BE49-F238E27FC236}">
                <a16:creationId xmlns:a16="http://schemas.microsoft.com/office/drawing/2014/main" id="{A18E319A-A3FF-CB41-AC94-68C78BF6DA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287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Path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op Nav">
            <a:extLst>
              <a:ext uri="{FF2B5EF4-FFF2-40B4-BE49-F238E27FC236}">
                <a16:creationId xmlns:a16="http://schemas.microsoft.com/office/drawing/2014/main" id="{B0DBB454-2923-D247-A793-2E1AD83EDC61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896931D-0790-784E-B4DB-8ED1ACF447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flipH="1">
            <a:off x="1" y="3321724"/>
            <a:ext cx="12191998" cy="3027950"/>
            <a:chOff x="1" y="2621937"/>
            <a:chExt cx="12191998" cy="3027950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55043362-8F75-0745-A63A-7834495F8714}"/>
                </a:ext>
              </a:extLst>
            </p:cNvPr>
            <p:cNvGrpSpPr/>
            <p:nvPr userDrawn="1"/>
          </p:nvGrpSpPr>
          <p:grpSpPr>
            <a:xfrm>
              <a:off x="1" y="2621937"/>
              <a:ext cx="2001201" cy="233422"/>
              <a:chOff x="0" y="2656480"/>
              <a:chExt cx="9572617" cy="233422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3E66ECAB-7133-AD4B-B0EE-28A4BEF04CAC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1C11623C-AC1A-4A43-A565-9255506E6567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A8D16141-CCAB-0746-8535-98B2E101BCFA}"/>
                </a:ext>
              </a:extLst>
            </p:cNvPr>
            <p:cNvGrpSpPr/>
            <p:nvPr userDrawn="1"/>
          </p:nvGrpSpPr>
          <p:grpSpPr>
            <a:xfrm rot="5400000">
              <a:off x="428932" y="4077616"/>
              <a:ext cx="2911120" cy="233422"/>
              <a:chOff x="0" y="2656480"/>
              <a:chExt cx="9572617" cy="233422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952A5FA2-4E0D-C54C-BB84-BDD6D943E8D4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CC389AD1-AB5B-BD49-AB38-9B9B1604791E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1969F282-EF38-FC40-905F-6E5D77FB9041}"/>
                </a:ext>
              </a:extLst>
            </p:cNvPr>
            <p:cNvGrpSpPr/>
            <p:nvPr userDrawn="1"/>
          </p:nvGrpSpPr>
          <p:grpSpPr>
            <a:xfrm>
              <a:off x="1884490" y="5416463"/>
              <a:ext cx="10307509" cy="233422"/>
              <a:chOff x="0" y="2656480"/>
              <a:chExt cx="9572617" cy="233422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EFC2C7F0-EC9D-D44C-B4DD-06FE6C88E716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F7BDA258-0A0D-F741-9901-55DEAA79A460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F5B8D5-712F-414E-A26F-6FA978D44C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D7037DB2-618C-FC4F-9EF6-9DD3982345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48" name="Pg">
            <a:extLst>
              <a:ext uri="{FF2B5EF4-FFF2-40B4-BE49-F238E27FC236}">
                <a16:creationId xmlns:a16="http://schemas.microsoft.com/office/drawing/2014/main" id="{75E0C428-3E02-FA42-99AF-95E6B1BE253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D785BAF5-3D1A-EB44-9381-2C704C2238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7450" y="958960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0" name="01">
            <a:extLst>
              <a:ext uri="{FF2B5EF4-FFF2-40B4-BE49-F238E27FC236}">
                <a16:creationId xmlns:a16="http://schemas.microsoft.com/office/drawing/2014/main" id="{C7460D23-DB38-E34B-9711-F933BB9213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0351" y="181383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" name="Headline 1">
            <a:extLst>
              <a:ext uri="{FF2B5EF4-FFF2-40B4-BE49-F238E27FC236}">
                <a16:creationId xmlns:a16="http://schemas.microsoft.com/office/drawing/2014/main" id="{8E9BAA1C-DF88-B445-9BDF-5E8FB00ADB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9197" y="1813832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50" name="Copy 1">
            <a:extLst>
              <a:ext uri="{FF2B5EF4-FFF2-40B4-BE49-F238E27FC236}">
                <a16:creationId xmlns:a16="http://schemas.microsoft.com/office/drawing/2014/main" id="{238D5C13-6BC6-864C-852E-088734E0F5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12671" y="2265940"/>
            <a:ext cx="4241637" cy="4206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</p:txBody>
      </p:sp>
      <p:sp>
        <p:nvSpPr>
          <p:cNvPr id="33" name="02">
            <a:extLst>
              <a:ext uri="{FF2B5EF4-FFF2-40B4-BE49-F238E27FC236}">
                <a16:creationId xmlns:a16="http://schemas.microsoft.com/office/drawing/2014/main" id="{502F8C79-77C0-5C48-867D-B292CA3E5A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7450" y="3291803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Headline 2">
            <a:extLst>
              <a:ext uri="{FF2B5EF4-FFF2-40B4-BE49-F238E27FC236}">
                <a16:creationId xmlns:a16="http://schemas.microsoft.com/office/drawing/2014/main" id="{1217D55F-AC99-6C4B-A91A-B525B2F82D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06296" y="3291803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69" name="Copy 2">
            <a:extLst>
              <a:ext uri="{FF2B5EF4-FFF2-40B4-BE49-F238E27FC236}">
                <a16:creationId xmlns:a16="http://schemas.microsoft.com/office/drawing/2014/main" id="{6B38AE9F-747B-2849-9A2B-8E78114D04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99196" y="3698521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36" name="03">
            <a:extLst>
              <a:ext uri="{FF2B5EF4-FFF2-40B4-BE49-F238E27FC236}">
                <a16:creationId xmlns:a16="http://schemas.microsoft.com/office/drawing/2014/main" id="{8C7E74A7-FBB4-F44D-9FD3-F3C86CE25C9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8563" y="4758717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8" name="Headline 3">
            <a:extLst>
              <a:ext uri="{FF2B5EF4-FFF2-40B4-BE49-F238E27FC236}">
                <a16:creationId xmlns:a16="http://schemas.microsoft.com/office/drawing/2014/main" id="{A5C9EDD8-7B5C-B14B-A1FE-E4BC3B6F3C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06296" y="4752591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0" name="Copy 3">
            <a:extLst>
              <a:ext uri="{FF2B5EF4-FFF2-40B4-BE49-F238E27FC236}">
                <a16:creationId xmlns:a16="http://schemas.microsoft.com/office/drawing/2014/main" id="{C2895A15-FE9A-7A4F-8035-F76C77E050E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12671" y="5182326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C093DB3-273B-AF41-9798-B6C4095D961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935788" y="1746250"/>
            <a:ext cx="4148137" cy="5111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345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13287A0-C8FD-6449-8310-14600C68CD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3321723"/>
            <a:ext cx="12192000" cy="3027951"/>
            <a:chOff x="0" y="2621937"/>
            <a:chExt cx="12192000" cy="3027951"/>
          </a:xfrm>
          <a:solidFill>
            <a:schemeClr val="accent1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A87DFCB-27DE-CA43-932D-377A4B7A96E8}"/>
                </a:ext>
              </a:extLst>
            </p:cNvPr>
            <p:cNvSpPr/>
            <p:nvPr userDrawn="1"/>
          </p:nvSpPr>
          <p:spPr>
            <a:xfrm>
              <a:off x="0" y="2621937"/>
              <a:ext cx="1821468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F4C1B40-A6DC-E140-A12A-4D94A2DA9CA4}"/>
                </a:ext>
              </a:extLst>
            </p:cNvPr>
            <p:cNvSpPr/>
            <p:nvPr userDrawn="1"/>
          </p:nvSpPr>
          <p:spPr>
            <a:xfrm rot="5400000">
              <a:off x="372227" y="4020914"/>
              <a:ext cx="3027951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F788E9F-4D6F-FC49-AFFB-0DB170A87861}"/>
                </a:ext>
              </a:extLst>
            </p:cNvPr>
            <p:cNvSpPr/>
            <p:nvPr userDrawn="1"/>
          </p:nvSpPr>
          <p:spPr>
            <a:xfrm>
              <a:off x="1810327" y="5419887"/>
              <a:ext cx="10381673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D26904-2D64-A041-AED1-1566B3F825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9A5F8572-960D-D448-90C2-B30ED42846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48342CED-001C-AD48-8427-D341DEBD80C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5B0E7CBC-867F-A54C-812D-51EB02B0D0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4895" y="958960"/>
            <a:ext cx="4796859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8" name="01">
            <a:extLst>
              <a:ext uri="{FF2B5EF4-FFF2-40B4-BE49-F238E27FC236}">
                <a16:creationId xmlns:a16="http://schemas.microsoft.com/office/drawing/2014/main" id="{4DD26A78-8BCB-B24A-B98B-D3C5C72014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97796" y="1718735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7" name="Headline 1">
            <a:extLst>
              <a:ext uri="{FF2B5EF4-FFF2-40B4-BE49-F238E27FC236}">
                <a16:creationId xmlns:a16="http://schemas.microsoft.com/office/drawing/2014/main" id="{F77579FA-E0A6-BE4E-B83A-0F7305BA49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46642" y="1718735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9" name="Copy 1">
            <a:extLst>
              <a:ext uri="{FF2B5EF4-FFF2-40B4-BE49-F238E27FC236}">
                <a16:creationId xmlns:a16="http://schemas.microsoft.com/office/drawing/2014/main" id="{2388C246-4C64-A44F-961B-615B097BA7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53018" y="2156391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02">
            <a:extLst>
              <a:ext uri="{FF2B5EF4-FFF2-40B4-BE49-F238E27FC236}">
                <a16:creationId xmlns:a16="http://schemas.microsoft.com/office/drawing/2014/main" id="{830944A2-8584-BC4A-92AA-32D0B4464A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04895" y="3196706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40" name="Headline 2">
            <a:extLst>
              <a:ext uri="{FF2B5EF4-FFF2-40B4-BE49-F238E27FC236}">
                <a16:creationId xmlns:a16="http://schemas.microsoft.com/office/drawing/2014/main" id="{FDD69F5D-AB79-3845-A6F2-385D5C5B1B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53741" y="3196706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2" name="Copy 2">
            <a:extLst>
              <a:ext uri="{FF2B5EF4-FFF2-40B4-BE49-F238E27FC236}">
                <a16:creationId xmlns:a16="http://schemas.microsoft.com/office/drawing/2014/main" id="{3D89D222-7622-9044-A731-85FC8011D9A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60117" y="3634362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03">
            <a:extLst>
              <a:ext uri="{FF2B5EF4-FFF2-40B4-BE49-F238E27FC236}">
                <a16:creationId xmlns:a16="http://schemas.microsoft.com/office/drawing/2014/main" id="{A0717EC4-4CFA-3746-A443-E79E29767C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6008" y="465438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45" name="Headline 3">
            <a:extLst>
              <a:ext uri="{FF2B5EF4-FFF2-40B4-BE49-F238E27FC236}">
                <a16:creationId xmlns:a16="http://schemas.microsoft.com/office/drawing/2014/main" id="{0D57046F-F33F-6840-BE9B-EAD06F2C96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53741" y="4657494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4" name="Copy 3">
            <a:extLst>
              <a:ext uri="{FF2B5EF4-FFF2-40B4-BE49-F238E27FC236}">
                <a16:creationId xmlns:a16="http://schemas.microsoft.com/office/drawing/2014/main" id="{4F9721F3-9853-5247-BD5C-9420E958AD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61230" y="5092596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C6DB3A7-20E0-684E-9A74-A2BF27E7FB5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069975" y="1373188"/>
            <a:ext cx="4438650" cy="54848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196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25C50BE7-02B9-E94F-82D1-CA65C5808638}"/>
              </a:ext>
            </a:extLst>
          </p:cNvPr>
          <p:cNvSpPr/>
          <p:nvPr userDrawn="1"/>
        </p:nvSpPr>
        <p:spPr>
          <a:xfrm>
            <a:off x="0" y="-1"/>
            <a:ext cx="12192000" cy="6860093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 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FEC3F10-5F67-304B-8825-308AD531CD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58AD3BE-D6CF-A64B-8811-9A8A9093B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62867" y="-3"/>
            <a:ext cx="11734660" cy="6349157"/>
            <a:chOff x="362867" y="-3"/>
            <a:chExt cx="11734660" cy="634915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362867" y="6136112"/>
              <a:ext cx="10780357" cy="2130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/>
          </p:nvSpPr>
          <p:spPr>
            <a:xfrm rot="16200000">
              <a:off x="9515714" y="4721644"/>
              <a:ext cx="3025021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49CCB56-97C4-D743-80FD-7AEEF01BDBA1}"/>
                </a:ext>
              </a:extLst>
            </p:cNvPr>
            <p:cNvSpPr/>
            <p:nvPr/>
          </p:nvSpPr>
          <p:spPr>
            <a:xfrm>
              <a:off x="9502377" y="3324133"/>
              <a:ext cx="1640847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888F149-DAA2-B848-801A-FCC1422F3B96}"/>
                </a:ext>
              </a:extLst>
            </p:cNvPr>
            <p:cNvSpPr/>
            <p:nvPr/>
          </p:nvSpPr>
          <p:spPr>
            <a:xfrm rot="16200000">
              <a:off x="9188261" y="3004154"/>
              <a:ext cx="858236" cy="230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chemeClr val="bg1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9147057" y="1613790"/>
              <a:ext cx="2950470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427200B-3CEF-4543-AFE8-A349D401B181}"/>
                </a:ext>
              </a:extLst>
            </p:cNvPr>
            <p:cNvSpPr/>
            <p:nvPr userDrawn="1"/>
          </p:nvSpPr>
          <p:spPr>
            <a:xfrm rot="16200000">
              <a:off x="-2696712" y="3059577"/>
              <a:ext cx="6349157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546F528F-8FD7-0046-8513-FB61348B37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ABC2A16-3F7C-3046-969E-5B8D87BD37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7E67ABFC-699A-5442-B333-C5B9BFC1B6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0" name="Numeral Date">
            <a:extLst>
              <a:ext uri="{FF2B5EF4-FFF2-40B4-BE49-F238E27FC236}">
                <a16:creationId xmlns:a16="http://schemas.microsoft.com/office/drawing/2014/main" id="{80B0E6A2-D15A-844C-BC00-3E06BA55C9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1" name="Name &amp; Surname">
            <a:extLst>
              <a:ext uri="{FF2B5EF4-FFF2-40B4-BE49-F238E27FC236}">
                <a16:creationId xmlns:a16="http://schemas.microsoft.com/office/drawing/2014/main" id="{4A623C1E-7ACF-624F-925D-EE13A08C6D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8" name="Subtitle">
            <a:extLst>
              <a:ext uri="{FF2B5EF4-FFF2-40B4-BE49-F238E27FC236}">
                <a16:creationId xmlns:a16="http://schemas.microsoft.com/office/drawing/2014/main" id="{C521F783-BD0D-4E45-AF8D-244BD4F709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518E6496-8922-7A41-B98C-68CD63029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44" name="Picture 43" descr="McGraw Hill red cube Logo">
            <a:extLst>
              <a:ext uri="{FF2B5EF4-FFF2-40B4-BE49-F238E27FC236}">
                <a16:creationId xmlns:a16="http://schemas.microsoft.com/office/drawing/2014/main" id="{AD397FEF-023D-054E-ACC9-0270E3770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1550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2836D77-0D00-81FC-192F-18388A3072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771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E6948A-A3B1-F139-AEDB-5E631C58B4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969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EC68AE-8387-1A40-2D4A-2C57F3A6FB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739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D9FC49DD-4F8B-CF98-C24E-3D77881819A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728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56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72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909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001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431BC4-FA1F-4029-B4CB-B47323FFB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DF5675-32B7-4D35-AE2B-978AE1197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15AD0C-07DB-4418-8107-789D281B336C}" type="datetimeFigureOut">
              <a:rPr lang="en-US" smtClean="0"/>
              <a:t>6/4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100748-5877-469E-9BCE-C929CDCDD7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72884F-AEA2-4D7C-BC30-0D072C6B29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9BA0C4-6567-459F-93BF-7D480B184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52288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094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B842EDC8-9FFB-2849-A229-4E95F1FA8F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874" cy="923533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4F1E58E-5201-7248-9458-9D353017EE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EB94A7-64EA-3C44-B1A7-F2BF742D98D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33204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Numeral Date">
            <a:extLst>
              <a:ext uri="{FF2B5EF4-FFF2-40B4-BE49-F238E27FC236}">
                <a16:creationId xmlns:a16="http://schemas.microsoft.com/office/drawing/2014/main" id="{EAEF7B50-2449-3847-A9B3-BC55E2EFB2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Name &amp; Surname">
            <a:extLst>
              <a:ext uri="{FF2B5EF4-FFF2-40B4-BE49-F238E27FC236}">
                <a16:creationId xmlns:a16="http://schemas.microsoft.com/office/drawing/2014/main" id="{1BE2989A-80FF-6748-9A18-6CF1DD0939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347901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1" name="Subtitle">
            <a:extLst>
              <a:ext uri="{FF2B5EF4-FFF2-40B4-BE49-F238E27FC236}">
                <a16:creationId xmlns:a16="http://schemas.microsoft.com/office/drawing/2014/main" id="{89FF4802-A4D3-434E-9424-1B51794D3F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4BE9A612-EC57-864B-AADF-3B43A50F46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519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4293320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with Image_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6792C61-A2E3-D441-8137-CB45AFE082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E6919F8-F58F-2A4A-98F5-FDE984CD97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84A42B3-C875-7246-A333-E68DA98D95DB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472291B4-31A1-FC4C-9218-CC71C5ECF3DC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E9130DD8-37F0-BF47-8443-E9DE9187AB2F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0CD89C06-927B-1048-857D-F555B58E9E09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57E0C0AC-9BA1-214B-8145-543EE42ED6E9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D4538913-9335-E444-BF4E-F794A08ED497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B0E2A164-33EF-A54E-9F2D-524ABD561FD8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84A060C7-32C6-3044-9FCC-1367B695FF14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A19BE616-B0FC-664F-8D2F-6A3F97AB1633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5EF27DDE-4D35-EC48-99B6-93AD172168ED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5B9AE42F-8A3D-BD41-8E8C-B03D6F2AABFD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018B7F2-7545-1A40-8767-8909D3F4819C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86F24CA8-7119-C74B-961C-0D182044791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0" name="Parallelogram 39">
                  <a:extLst>
                    <a:ext uri="{FF2B5EF4-FFF2-40B4-BE49-F238E27FC236}">
                      <a16:creationId xmlns:a16="http://schemas.microsoft.com/office/drawing/2014/main" id="{4ECDA969-3B93-0041-8812-9414A9750FCE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1" name="Parallelogram 40">
                  <a:extLst>
                    <a:ext uri="{FF2B5EF4-FFF2-40B4-BE49-F238E27FC236}">
                      <a16:creationId xmlns:a16="http://schemas.microsoft.com/office/drawing/2014/main" id="{CA5C2512-C76D-6E41-8E09-02263D12AC03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2E6F009D-4DD9-1445-882C-05B6CB71001E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38" name="Parallelogram 61">
                  <a:extLst>
                    <a:ext uri="{FF2B5EF4-FFF2-40B4-BE49-F238E27FC236}">
                      <a16:creationId xmlns:a16="http://schemas.microsoft.com/office/drawing/2014/main" id="{4FF1D96C-C26A-D247-B296-2D1B409294A0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61">
                  <a:extLst>
                    <a:ext uri="{FF2B5EF4-FFF2-40B4-BE49-F238E27FC236}">
                      <a16:creationId xmlns:a16="http://schemas.microsoft.com/office/drawing/2014/main" id="{5610441A-E740-F54A-80F8-0C5A74DE2B3B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1D270C0A-6D12-D543-BBDC-13F13EEF7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1AB0CE1-8D6D-7448-B8CE-6354B4485C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62B1EA1F-4CEF-8943-B26B-D2EE7BECA27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3" name="Numeral Date">
            <a:extLst>
              <a:ext uri="{FF2B5EF4-FFF2-40B4-BE49-F238E27FC236}">
                <a16:creationId xmlns:a16="http://schemas.microsoft.com/office/drawing/2014/main" id="{C75370B1-A29C-D045-93FF-A3FF43E45D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4" name="Name &amp; Surname">
            <a:extLst>
              <a:ext uri="{FF2B5EF4-FFF2-40B4-BE49-F238E27FC236}">
                <a16:creationId xmlns:a16="http://schemas.microsoft.com/office/drawing/2014/main" id="{0FC2ACD5-DFC3-DC4A-AD29-579EDAF07F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0" name="Subtitle">
            <a:extLst>
              <a:ext uri="{FF2B5EF4-FFF2-40B4-BE49-F238E27FC236}">
                <a16:creationId xmlns:a16="http://schemas.microsoft.com/office/drawing/2014/main" id="{360FC992-BC0C-6F41-B636-9B86C8738C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2EA7844D-0BD6-CD4D-8958-F02051CF3E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56" name="Picture 55" descr="McGraw Hill red cube Logo">
            <a:extLst>
              <a:ext uri="{FF2B5EF4-FFF2-40B4-BE49-F238E27FC236}">
                <a16:creationId xmlns:a16="http://schemas.microsoft.com/office/drawing/2014/main" id="{FB8ADFE6-C4A2-E14F-8FFD-6019DBA618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2828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1483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op Nav">
            <a:extLst>
              <a:ext uri="{FF2B5EF4-FFF2-40B4-BE49-F238E27FC236}">
                <a16:creationId xmlns:a16="http://schemas.microsoft.com/office/drawing/2014/main" id="{E4D20FAE-37C6-C749-A4C0-1C7EB7AFC4CD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AC79D01-1491-1A46-B0B6-F2FEBC1BAC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B404AE-4E2C-6049-95E3-193B665C26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DA8190D2-E978-6643-BCB2-60CDE40B8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5B59F53A-E8CF-1C40-B445-91F374C88B6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9255ED6-FF99-7C4C-872F-AE8527729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AA788A84-57E8-A34B-9A7A-191EA5DB55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B745550E-7BE1-494D-B44D-4932A01F33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959AF58F-8047-4A4F-B1B7-E6B18CF6AF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446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GHT BLUE 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DB41E570-CA75-A746-B954-43B4FA2F75C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5D6D3B9-5F57-4D46-94D5-27811194DC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9EF590-E588-8B41-AF56-718C495BBF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8B0874C-8B01-C74F-A1E1-E491D257E0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FC8C3A12-05AB-384D-B38A-AA60F17D987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895255C-5C21-B44A-9272-4243F8BCCC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19F8877B-D18D-CF4F-A4B3-5626E1DDC4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24804DEE-1D02-2343-BFAA-2C9772B155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21" name="Call out Box">
            <a:extLst>
              <a:ext uri="{FF2B5EF4-FFF2-40B4-BE49-F238E27FC236}">
                <a16:creationId xmlns:a16="http://schemas.microsoft.com/office/drawing/2014/main" id="{B084D13F-DF47-7449-946E-30E399B43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874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24543A-2943-E144-B0C9-4FF147982F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A8E5E85-12FB-CF4F-8F55-864987A9A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841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GRAY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op Nav">
            <a:extLst>
              <a:ext uri="{FF2B5EF4-FFF2-40B4-BE49-F238E27FC236}">
                <a16:creationId xmlns:a16="http://schemas.microsoft.com/office/drawing/2014/main" id="{FC231581-4C30-CC44-97C7-AF37930886B5}"/>
              </a:ext>
            </a:extLst>
          </p:cNvPr>
          <p:cNvSpPr/>
          <p:nvPr userDrawn="1"/>
        </p:nvSpPr>
        <p:spPr>
          <a:xfrm>
            <a:off x="8105548" y="728663"/>
            <a:ext cx="4086452" cy="406829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D441DD-A5DD-674E-B805-796E0DCE87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6AF6692-F0B1-984D-AAE3-766630556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77BBF566-40CB-864A-B2E3-96B94E6B17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AECED608-F065-4D58-B7C8-0C1C936EBB3A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5371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RED on CARB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op Nav">
            <a:extLst>
              <a:ext uri="{FF2B5EF4-FFF2-40B4-BE49-F238E27FC236}">
                <a16:creationId xmlns:a16="http://schemas.microsoft.com/office/drawing/2014/main" id="{5632E63E-8B1B-134B-9EA1-CD9ACBB6716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077483-4A49-AA4B-8B2E-9115C1ECC2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B93D016-9E70-8F45-AA00-97F5080F2D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663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45B405-5520-D342-BFF1-B356801142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8" name="Chapter Title">
            <a:extLst>
              <a:ext uri="{FF2B5EF4-FFF2-40B4-BE49-F238E27FC236}">
                <a16:creationId xmlns:a16="http://schemas.microsoft.com/office/drawing/2014/main" id="{84EF5F22-40A4-F34C-9AAE-3BE16DC4D8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0" name="Pg">
            <a:extLst>
              <a:ext uri="{FF2B5EF4-FFF2-40B4-BE49-F238E27FC236}">
                <a16:creationId xmlns:a16="http://schemas.microsoft.com/office/drawing/2014/main" id="{9E56A7A9-2EA7-8342-A088-17D4FCB6BD7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280C8E3-777D-544D-80D5-B7791BC58B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17A9CB7-967C-C743-9745-5972400AEAA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86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BLUE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17A81-5A2C-1C46-B732-6D8F752FE7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C868D27C-4A66-3D40-B6D9-DA3C3E77BF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6307E64D-ABD6-964C-A9ED-0F2BC5F5DFC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74E7FBC-DBF4-A843-BCC8-3AABD2752B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3932ECF-C481-0042-9C4B-69AC0151F6C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0313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RE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llege student in a hoodie and jean jacket smiles broadly at something across the classroom.">
            <a:extLst>
              <a:ext uri="{FF2B5EF4-FFF2-40B4-BE49-F238E27FC236}">
                <a16:creationId xmlns:a16="http://schemas.microsoft.com/office/drawing/2014/main" id="{D3FBABBA-EFFB-8723-4DFB-B88365F2D5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3"/>
            <a:ext cx="12192000" cy="6851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634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VIOLE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24E95-DAF4-C047-A8A8-63805777AB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9A2B021-614E-CC4D-9416-F375CF1D86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918D5D-8AA4-3844-A0DB-F33D1F9E638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558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GRAY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9A50EBF1-7D5E-3747-8077-326AF31A95C4}"/>
              </a:ext>
            </a:extLst>
          </p:cNvPr>
          <p:cNvSpPr/>
          <p:nvPr userDrawn="1"/>
        </p:nvSpPr>
        <p:spPr>
          <a:xfrm>
            <a:off x="8112124" y="2744788"/>
            <a:ext cx="4079875" cy="411321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2A26EE-2250-A34C-87BB-A0544E4652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24A7980-45D8-784D-8E4F-0D0053671D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88F2E5B-FAE3-7C4A-9B56-8232512481C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693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F5C9CE-D32E-5541-B85A-FA6797185C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D9ECAC6B-55DF-3941-B806-4599F63175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65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93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F53538-1E06-AD4F-B660-530EE363B8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90803EF-B185-1A4B-AEB0-EB63A68BF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377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F03ADE6-71A7-C548-9F6E-82FDBBD6C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4">
                    <a:lumMod val="25000"/>
                  </a:schemeClr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724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BEFBCB-AB08-7140-8567-4FD4D04CAD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0C06EC2B-3880-F14F-AE7E-34F53ED22B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2027" y="1736725"/>
            <a:ext cx="3807947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999974" y="1749425"/>
            <a:ext cx="419202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581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FB85C7-7209-144C-8D24-339DFB0EC3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AEF899C-3DCF-8C49-9396-92C59D4A49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757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5F642D6-3553-324F-921E-A1CD808FEC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CC77AEF-848E-1B4D-806C-A42A97518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FE6FF244-ECCD-FB4B-888A-4E5725DEDC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EE8CE71D-FD18-3C4F-A0F0-3D4D2F934A3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856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5E37CA6-007B-07DA-14EA-257D66F241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Pg">
            <a:extLst>
              <a:ext uri="{FF2B5EF4-FFF2-40B4-BE49-F238E27FC236}">
                <a16:creationId xmlns:a16="http://schemas.microsoft.com/office/drawing/2014/main" id="{AEE4B3C3-6D78-A2BC-C1D1-633EC0B75B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EF04848-82E9-8D9E-EDA9-0D1BEFB2B6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F46D2F08-BFA1-323D-8041-A4B3D061EF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nibh euismo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Tincidunt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erat volutpat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nonummy nibh euismod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5FC09504-150C-61B2-5FFF-68F698B29B2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186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RE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3 children sit cross-legged on a library's floor as a book is read to them. Their faces show they are engaged with each other and the story.&#10;">
            <a:extLst>
              <a:ext uri="{FF2B5EF4-FFF2-40B4-BE49-F238E27FC236}">
                <a16:creationId xmlns:a16="http://schemas.microsoft.com/office/drawing/2014/main" id="{E7890813-9A2C-C445-8885-75DF0271E8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2"/>
            <a:ext cx="12192000" cy="685173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975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WHITE on RED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4B6D6C-C29B-A548-A31E-1599E90232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B65A249-F039-1443-8CC7-E8D46EA69B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864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79875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181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RED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0ACFF1-F760-9646-978E-A45F7A2F22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F07E239-B479-4B49-A66C-67B5E5D8E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69036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6576" y="1749425"/>
            <a:ext cx="40864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42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BLUE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47323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F039C16-092F-A740-B960-ADDCD3D911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E21EE8B-6895-1B4A-9E48-4992928A95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1025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248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LIGHT VIOLET on VIOLET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3860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E0767D-8A25-6C4A-8364-3B7A3F82FA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463D1A8-1111-114B-9890-0CE0E14B7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386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6411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150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96C25C-4E0B-8F45-A598-DEBA7C70A1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46516CC-87F2-EF46-9DE4-E73DBE2F3B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005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089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LIGHT VIOLET on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B3ECB7-D9C5-7546-A06E-9CF6F67D23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20D7435D-F882-234A-BBC8-20C90114E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D95F659-D768-DA4C-A100-D623125B2D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154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C6DC658-BECF-B54E-AC16-9CF646F90F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CBAEEB7-4D07-4E47-9AD6-1302A0606B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854C5140-16E5-5B49-8707-20A9139FD7A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488891"/>
            <a:ext cx="7081838" cy="3348347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011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Bulle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3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AEA48F-3B08-6D49-AAE9-9E6A4A5E47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1E73F80A-1813-DA4F-8DE2-64EB7F213B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A36B83B-6BD2-D144-A9FF-1152262C28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7"/>
            <a:ext cx="7081838" cy="3328692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7156F9C9-D4B2-4542-B1D5-6C51BC91E5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054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BLU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 the middle of his classroom, an elementary school teacher leans down to point at a student's paper. The boy holds a red pencil and smiles at his work.">
            <a:extLst>
              <a:ext uri="{FF2B5EF4-FFF2-40B4-BE49-F238E27FC236}">
                <a16:creationId xmlns:a16="http://schemas.microsoft.com/office/drawing/2014/main" id="{E41C6DCE-1CEF-5CFA-D3FF-5A71CA239D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471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D75399-CE4F-B348-BAB4-FC82DF0607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5F10BB2-BD13-C546-AA6B-50B0925DB9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5"/>
            <a:ext cx="7081838" cy="332869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37111FFF-42FA-CE45-BFD6-0F5263B787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999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681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 and LIGHT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137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No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9068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106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776914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68407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6619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0D2407-3AEE-1846-8778-AE4EE683A8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33" name="Chapter Title">
            <a:extLst>
              <a:ext uri="{FF2B5EF4-FFF2-40B4-BE49-F238E27FC236}">
                <a16:creationId xmlns:a16="http://schemas.microsoft.com/office/drawing/2014/main" id="{7D24EF4D-8CFF-2241-8291-933EFE6292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8" name="Pg">
            <a:extLst>
              <a:ext uri="{FF2B5EF4-FFF2-40B4-BE49-F238E27FC236}">
                <a16:creationId xmlns:a16="http://schemas.microsoft.com/office/drawing/2014/main" id="{2D9A1D09-DB20-6D4D-83FD-330BCF62809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E40A5D0-FCE3-9442-99D4-4FFF20BCB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BAD73B57-8C4A-D743-AACF-484F43CC0B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2B469334-6E72-5D40-AA8E-B737B44651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42B229DB-D4B9-544F-8266-3342343568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F469656D-C96E-9A47-B8C1-D64C8FCF77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8383D3C-9789-A842-828F-3B5C13382A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DFE1817B-BA1F-C949-8EA0-6C10052596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FA4866C5-96CB-A844-A442-C93A18B11A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7BA46A7F-694F-8447-AAD3-ED50BF4275A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A2E9B9FF-BCCB-2247-9494-04E868F5AF0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FFA14467-DA2F-1347-A181-87C0FDFC047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CD36F8F1-96E3-E648-926C-EFEE29F6CFA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B161DB36-BA0A-6E48-A4BC-33D1C6F0B3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4F8FF71C-BC5B-B24A-944F-6C70373088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8389548D-A6FA-B449-8592-28D45618BBA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BBFD7C98-2BE7-7E44-BCED-09D82235061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40467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-Column Cont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339568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23BF18-190B-0B45-86C7-8E7FD8D5BA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4" name="Chapter Title">
            <a:extLst>
              <a:ext uri="{FF2B5EF4-FFF2-40B4-BE49-F238E27FC236}">
                <a16:creationId xmlns:a16="http://schemas.microsoft.com/office/drawing/2014/main" id="{4C3A16F4-5E80-954F-9F5D-C17AAF09B8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68B34E99-AE30-4C49-ABBE-F3D759A453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3" name="01">
            <a:extLst>
              <a:ext uri="{FF2B5EF4-FFF2-40B4-BE49-F238E27FC236}">
                <a16:creationId xmlns:a16="http://schemas.microsoft.com/office/drawing/2014/main" id="{656B9FAF-84C0-7E43-8B08-53730DCF7EF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379440" y="1946465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9" name="Caption 1">
            <a:extLst>
              <a:ext uri="{FF2B5EF4-FFF2-40B4-BE49-F238E27FC236}">
                <a16:creationId xmlns:a16="http://schemas.microsoft.com/office/drawing/2014/main" id="{9CF9316A-A272-CB44-96B8-3E066822DFC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" name="Subtitle 1">
            <a:extLst>
              <a:ext uri="{FF2B5EF4-FFF2-40B4-BE49-F238E27FC236}">
                <a16:creationId xmlns:a16="http://schemas.microsoft.com/office/drawing/2014/main" id="{36FF7C71-04B0-1B44-BAC9-283FE6509B0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4532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D95B1A93-7377-6B4F-AB4C-85A0ADE1456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16113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4" name="02">
            <a:extLst>
              <a:ext uri="{FF2B5EF4-FFF2-40B4-BE49-F238E27FC236}">
                <a16:creationId xmlns:a16="http://schemas.microsoft.com/office/drawing/2014/main" id="{42B5B42B-7BA8-8749-A68B-767FDE1DBE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46882" y="1946703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61" name="Caption 2">
            <a:extLst>
              <a:ext uri="{FF2B5EF4-FFF2-40B4-BE49-F238E27FC236}">
                <a16:creationId xmlns:a16="http://schemas.microsoft.com/office/drawing/2014/main" id="{AB11E701-A589-1142-AAC4-7F98249E39B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73065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AC7180CB-D6CC-884D-A1D6-4238C52B1D1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507143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1" name="Column 2">
            <a:extLst>
              <a:ext uri="{FF2B5EF4-FFF2-40B4-BE49-F238E27FC236}">
                <a16:creationId xmlns:a16="http://schemas.microsoft.com/office/drawing/2014/main" id="{DED1FE80-97ED-A44A-AAC7-23445FA9373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538724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5" name="03">
            <a:extLst>
              <a:ext uri="{FF2B5EF4-FFF2-40B4-BE49-F238E27FC236}">
                <a16:creationId xmlns:a16="http://schemas.microsoft.com/office/drawing/2014/main" id="{8192EB0B-9651-B544-BDAC-EE091C49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356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2" name="Caption 3">
            <a:extLst>
              <a:ext uri="{FF2B5EF4-FFF2-40B4-BE49-F238E27FC236}">
                <a16:creationId xmlns:a16="http://schemas.microsoft.com/office/drawing/2014/main" id="{284AA87E-52EF-2045-830C-F4AAFF5F87A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62044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2" name="Subtitle 3">
            <a:extLst>
              <a:ext uri="{FF2B5EF4-FFF2-40B4-BE49-F238E27FC236}">
                <a16:creationId xmlns:a16="http://schemas.microsoft.com/office/drawing/2014/main" id="{94D3E8CD-91A0-F547-BA17-B7867B89A68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05088" y="4391924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3" name="Column 3">
            <a:extLst>
              <a:ext uri="{FF2B5EF4-FFF2-40B4-BE49-F238E27FC236}">
                <a16:creationId xmlns:a16="http://schemas.microsoft.com/office/drawing/2014/main" id="{39B3353B-2777-5447-89A8-8604255C061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336669" y="4960909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6" name="04">
            <a:extLst>
              <a:ext uri="{FF2B5EF4-FFF2-40B4-BE49-F238E27FC236}">
                <a16:creationId xmlns:a16="http://schemas.microsoft.com/office/drawing/2014/main" id="{6CFC2436-7424-CA43-969D-9AB5100DA3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82202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3" name="Caption 4">
            <a:extLst>
              <a:ext uri="{FF2B5EF4-FFF2-40B4-BE49-F238E27FC236}">
                <a16:creationId xmlns:a16="http://schemas.microsoft.com/office/drawing/2014/main" id="{C758B12F-C44F-274A-A913-BCB1409A8DD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25774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Subtitle 4">
            <a:extLst>
              <a:ext uri="{FF2B5EF4-FFF2-40B4-BE49-F238E27FC236}">
                <a16:creationId xmlns:a16="http://schemas.microsoft.com/office/drawing/2014/main" id="{54CCEB4F-7779-5E4B-B18D-AA167974CF5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53963" y="4388597"/>
            <a:ext cx="2044858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8" name="Column 4">
            <a:extLst>
              <a:ext uri="{FF2B5EF4-FFF2-40B4-BE49-F238E27FC236}">
                <a16:creationId xmlns:a16="http://schemas.microsoft.com/office/drawing/2014/main" id="{DDA404CD-C496-1F4F-B260-2970B74DBAD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56413" y="4957582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Pg">
            <a:extLst>
              <a:ext uri="{FF2B5EF4-FFF2-40B4-BE49-F238E27FC236}">
                <a16:creationId xmlns:a16="http://schemas.microsoft.com/office/drawing/2014/main" id="{26155597-F0AF-764C-8816-67A652B266A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037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irl with purple glasses purses her lips in concentration as she writes on a whiteboard with a large, black marker. Her classmate stands beside her.&#10;">
            <a:extLst>
              <a:ext uri="{FF2B5EF4-FFF2-40B4-BE49-F238E27FC236}">
                <a16:creationId xmlns:a16="http://schemas.microsoft.com/office/drawing/2014/main" id="{92362EEF-3BD7-9942-9F61-594A9380A7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3100"/>
            <a:ext cx="12192000" cy="68911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252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op Nav">
            <a:extLst>
              <a:ext uri="{FF2B5EF4-FFF2-40B4-BE49-F238E27FC236}">
                <a16:creationId xmlns:a16="http://schemas.microsoft.com/office/drawing/2014/main" id="{63C8FBF6-E07B-8749-9CE6-AF0D6291DEB0}"/>
              </a:ext>
            </a:extLst>
          </p:cNvPr>
          <p:cNvSpPr/>
          <p:nvPr userDrawn="1"/>
        </p:nvSpPr>
        <p:spPr>
          <a:xfrm>
            <a:off x="0" y="728664"/>
            <a:ext cx="12191999" cy="6129336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60BAF2-64CC-3A4E-B752-82EE147FA7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01EF1194-E7BA-8641-B7C3-306A8956F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5" name="Pg">
            <a:extLst>
              <a:ext uri="{FF2B5EF4-FFF2-40B4-BE49-F238E27FC236}">
                <a16:creationId xmlns:a16="http://schemas.microsoft.com/office/drawing/2014/main" id="{844B4F85-BEB9-7D42-92C7-7EC215876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BEE164E9-B94E-9149-9694-5422386548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95B3BA13-C080-9848-9EE1-B9E9CA19F9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AF070C41-6C94-3A4A-978A-F440F161765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03D79C4C-8F32-6B4B-9FFB-9C9CFDBBDF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CA6ABE95-681E-C34A-B8B6-569502D902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3600F69-272F-C24D-B914-C33E8706485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88C5C30B-1103-594F-A8AA-BF1A6908C9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E3A9735A-C485-864B-B59D-5F45DEADA83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373489FE-C2DA-EF46-949E-CA23CB51A54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4FF6A20C-BEDE-1547-803D-D2BD830DE10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ADC59BD8-C0C2-684A-8085-EBDE4B767D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7C02D760-3953-CF49-A639-E32179CD656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F4EA188A-7D90-7B4B-A837-4262F19D75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2EFF1D36-CE17-1949-929C-138DF560583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A0B65ACF-BEB4-5149-816B-A56877ED8C6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D17CA303-7361-2D47-BB94-C5EFD44B71B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28794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5B9C971-A59C-E24F-9F13-F9E4BED677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Title Line 1">
            <a:extLst>
              <a:ext uri="{FF2B5EF4-FFF2-40B4-BE49-F238E27FC236}">
                <a16:creationId xmlns:a16="http://schemas.microsoft.com/office/drawing/2014/main" id="{460B94BE-2F57-214D-AA8B-96BF52A1AB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85924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1091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6" name="Title Line 2">
            <a:extLst>
              <a:ext uri="{FF2B5EF4-FFF2-40B4-BE49-F238E27FC236}">
                <a16:creationId xmlns:a16="http://schemas.microsoft.com/office/drawing/2014/main" id="{E31E5F7E-95A4-D243-9357-C2B9239A652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49850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36106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3">
            <a:extLst>
              <a:ext uri="{FF2B5EF4-FFF2-40B4-BE49-F238E27FC236}">
                <a16:creationId xmlns:a16="http://schemas.microsoft.com/office/drawing/2014/main" id="{CEBEEFA7-BA38-3640-8D05-BA35D9C9FA5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313775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01121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383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3CD589-820C-E34C-BB24-CFC41AFBF4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922674B1-49AA-9341-8C46-794E759907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BD0B7D5-0192-F646-9D3E-35CC8C2AFEB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F3A6DBF-0DEF-DB4B-A0B6-951847384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Title line 1">
            <a:extLst>
              <a:ext uri="{FF2B5EF4-FFF2-40B4-BE49-F238E27FC236}">
                <a16:creationId xmlns:a16="http://schemas.microsoft.com/office/drawing/2014/main" id="{6E0352A1-1A9E-4B4D-AC82-71F39E86DC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26892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2059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2">
            <a:extLst>
              <a:ext uri="{FF2B5EF4-FFF2-40B4-BE49-F238E27FC236}">
                <a16:creationId xmlns:a16="http://schemas.microsoft.com/office/drawing/2014/main" id="{16F4E1AB-6264-DF41-8025-CF302045B0D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75168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6142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8" name="Title line 3">
            <a:extLst>
              <a:ext uri="{FF2B5EF4-FFF2-40B4-BE49-F238E27FC236}">
                <a16:creationId xmlns:a16="http://schemas.microsoft.com/office/drawing/2014/main" id="{4005FD16-CA36-F449-BFD1-723D089159F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23443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0789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21" name="Title line 4">
            <a:extLst>
              <a:ext uri="{FF2B5EF4-FFF2-40B4-BE49-F238E27FC236}">
                <a16:creationId xmlns:a16="http://schemas.microsoft.com/office/drawing/2014/main" id="{85D83742-7B64-2842-9FD7-C3DB4A118D5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271718" y="1998724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7" name="Column 4">
            <a:extLst>
              <a:ext uri="{FF2B5EF4-FFF2-40B4-BE49-F238E27FC236}">
                <a16:creationId xmlns:a16="http://schemas.microsoft.com/office/drawing/2014/main" id="{EB2FCF4E-2315-A74B-9A73-3DEC8F3B2C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6015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113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200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80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8818EE-D37D-50E7-F166-FDA5EEEF49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6B1683-BE6C-994F-8C71-4655A6D7B5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28FF114-93DC-FC49-9934-51730AECAC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B53FBC86-B154-F249-A0EA-A3F4998B886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B2093CD-2406-1349-966B-57058BD810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473606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59743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46382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6833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051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C4C9A5-0868-2701-BC50-B6336F7A9B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4C2075-62BB-E24C-8076-CA96EF9E70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B23EC58-BCB7-634A-BB1D-B02CF96ACF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8B7895A-CD17-BE4E-8275-3B988852FF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0D918B0F-8556-604B-BAA8-A6C7C9B54BD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71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B603EE6-48B1-A9DD-3E8C-9F040098CC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F60865-49F2-1743-ACC3-2007E090A7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937ACD68-09C5-D248-B40F-4B1840FDA9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430514C7-0A12-D14C-9687-4F3B4194A5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E60BAC26-48D6-E248-B41C-2CCDFE98648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421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946E26-8BE7-2D48-86AC-6974E1F63A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13CBDD01-29C4-1745-98AD-13788A1461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A98EC6B-7BB0-C948-B167-15145EFB6A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E366E92-31CB-554F-81AB-17D313A7A12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tat 1">
            <a:extLst>
              <a:ext uri="{FF2B5EF4-FFF2-40B4-BE49-F238E27FC236}">
                <a16:creationId xmlns:a16="http://schemas.microsoft.com/office/drawing/2014/main" id="{C9E00311-1B4A-3A45-B2E1-0DEC2AF42F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3" name="Stat 1 Caption">
            <a:extLst>
              <a:ext uri="{FF2B5EF4-FFF2-40B4-BE49-F238E27FC236}">
                <a16:creationId xmlns:a16="http://schemas.microsoft.com/office/drawing/2014/main" id="{38EEFF29-C9F6-F448-9DE3-B7BED4EA28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4" name="Stat 1 Copy">
            <a:extLst>
              <a:ext uri="{FF2B5EF4-FFF2-40B4-BE49-F238E27FC236}">
                <a16:creationId xmlns:a16="http://schemas.microsoft.com/office/drawing/2014/main" id="{B83545D4-1FE8-DC43-9A81-6F25043587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5" name="Stat 2">
            <a:extLst>
              <a:ext uri="{FF2B5EF4-FFF2-40B4-BE49-F238E27FC236}">
                <a16:creationId xmlns:a16="http://schemas.microsoft.com/office/drawing/2014/main" id="{4ABC467F-D107-4747-9586-1125DD08C17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6" name="Stat 2 Caption">
            <a:extLst>
              <a:ext uri="{FF2B5EF4-FFF2-40B4-BE49-F238E27FC236}">
                <a16:creationId xmlns:a16="http://schemas.microsoft.com/office/drawing/2014/main" id="{8BD7BB4D-CE28-1E4B-9665-50E32471A5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7" name="Stat 2 Copy">
            <a:extLst>
              <a:ext uri="{FF2B5EF4-FFF2-40B4-BE49-F238E27FC236}">
                <a16:creationId xmlns:a16="http://schemas.microsoft.com/office/drawing/2014/main" id="{EB835A56-B62C-D14B-903D-610071ADC1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0116EA0E-2BFB-CB43-BCB2-E6275846FF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380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A4452E8-D98B-7D49-89F4-1988EA1CF4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EB64CB2E-C92D-124D-B974-0B1896DAFD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F928CD4C-6268-8747-985F-C59CF046D0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2B551DAC-27EA-C24C-B386-EC1AF8D644A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Stat 1">
            <a:extLst>
              <a:ext uri="{FF2B5EF4-FFF2-40B4-BE49-F238E27FC236}">
                <a16:creationId xmlns:a16="http://schemas.microsoft.com/office/drawing/2014/main" id="{F98DED31-4635-444D-919C-2B2B0E840F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23" name="Stat 1 Caption">
            <a:extLst>
              <a:ext uri="{FF2B5EF4-FFF2-40B4-BE49-F238E27FC236}">
                <a16:creationId xmlns:a16="http://schemas.microsoft.com/office/drawing/2014/main" id="{331C2C7A-A19F-4D41-AF05-994255D0A1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24" name="Stat 1 Copy">
            <a:extLst>
              <a:ext uri="{FF2B5EF4-FFF2-40B4-BE49-F238E27FC236}">
                <a16:creationId xmlns:a16="http://schemas.microsoft.com/office/drawing/2014/main" id="{085B1092-89BA-6141-A8AF-C417ED755A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5" name="Stat 2">
            <a:extLst>
              <a:ext uri="{FF2B5EF4-FFF2-40B4-BE49-F238E27FC236}">
                <a16:creationId xmlns:a16="http://schemas.microsoft.com/office/drawing/2014/main" id="{3F2FC970-AFDD-3442-9C3D-1624B73CCD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6" name="Stat 2 Caption">
            <a:extLst>
              <a:ext uri="{FF2B5EF4-FFF2-40B4-BE49-F238E27FC236}">
                <a16:creationId xmlns:a16="http://schemas.microsoft.com/office/drawing/2014/main" id="{2364D5FE-A84F-B94C-A9A4-9473F66729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7" name="Stat 2 Copy">
            <a:extLst>
              <a:ext uri="{FF2B5EF4-FFF2-40B4-BE49-F238E27FC236}">
                <a16:creationId xmlns:a16="http://schemas.microsoft.com/office/drawing/2014/main" id="{C7FFAD34-E2B5-C749-BB8B-450A44FC17C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D5A19222-FB40-1547-B796-7486CB30C6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4587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CF8A6E-8B6C-6747-84E2-7847C60A12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7F34424B-8820-7344-948C-E6A37BDAAA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B342B07-82AB-0B4B-B28F-D84666772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1DD162E7-2D04-F14B-8AE4-67BBDF2FB66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Stat 1">
            <a:extLst>
              <a:ext uri="{FF2B5EF4-FFF2-40B4-BE49-F238E27FC236}">
                <a16:creationId xmlns:a16="http://schemas.microsoft.com/office/drawing/2014/main" id="{8719B257-7CF2-6F44-B644-631E6E5FD3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8" name="Stat 1 Caption">
            <a:extLst>
              <a:ext uri="{FF2B5EF4-FFF2-40B4-BE49-F238E27FC236}">
                <a16:creationId xmlns:a16="http://schemas.microsoft.com/office/drawing/2014/main" id="{57760C02-0E47-7F4E-A806-343D235853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9" name="Stat 1 Copy">
            <a:extLst>
              <a:ext uri="{FF2B5EF4-FFF2-40B4-BE49-F238E27FC236}">
                <a16:creationId xmlns:a16="http://schemas.microsoft.com/office/drawing/2014/main" id="{EBA0D26B-DB92-4246-9287-4BA2780352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Stat 2">
            <a:extLst>
              <a:ext uri="{FF2B5EF4-FFF2-40B4-BE49-F238E27FC236}">
                <a16:creationId xmlns:a16="http://schemas.microsoft.com/office/drawing/2014/main" id="{B255A082-26C5-3C48-A4C3-084ADA5B70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1" name="Stat 2 Caption">
            <a:extLst>
              <a:ext uri="{FF2B5EF4-FFF2-40B4-BE49-F238E27FC236}">
                <a16:creationId xmlns:a16="http://schemas.microsoft.com/office/drawing/2014/main" id="{A2FDE0EB-7516-884E-8EAB-A79C468518D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2" name="Stat 2 Copy">
            <a:extLst>
              <a:ext uri="{FF2B5EF4-FFF2-40B4-BE49-F238E27FC236}">
                <a16:creationId xmlns:a16="http://schemas.microsoft.com/office/drawing/2014/main" id="{26318E31-81CB-5441-B056-B8D276EEF00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2F9A6A3-1428-324C-BC1A-CD4F519AE9C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6001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0496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VIOLE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college students holding their notebooks share a laugh outside a school building.">
            <a:extLst>
              <a:ext uri="{FF2B5EF4-FFF2-40B4-BE49-F238E27FC236}">
                <a16:creationId xmlns:a16="http://schemas.microsoft.com/office/drawing/2014/main" id="{ED6FB341-F7F5-9842-DF4D-6D3D22DF86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630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DB4CB4-1406-7FBC-0880-CB7AB119A9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6652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619D03A-D2EB-A738-BA8D-A429CF6572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9809" y="1366152"/>
            <a:ext cx="2133800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0959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7D88A5F-5A6A-CE48-F65D-46990A73FB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10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7355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1193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5022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188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5311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2F88899-822A-2BAC-C0BB-931CD16C32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5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4669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948AF60-D99C-18A5-0A22-0D341CF07A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44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" name="Body Text">
            <a:extLst>
              <a:ext uri="{FF2B5EF4-FFF2-40B4-BE49-F238E27FC236}">
                <a16:creationId xmlns:a16="http://schemas.microsoft.com/office/drawing/2014/main" id="{F788FE61-2449-64AF-DCE2-15E103FAA20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Body Text">
            <a:extLst>
              <a:ext uri="{FF2B5EF4-FFF2-40B4-BE49-F238E27FC236}">
                <a16:creationId xmlns:a16="http://schemas.microsoft.com/office/drawing/2014/main" id="{43578A47-72BE-6C4B-C324-1DA3363963F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BF8800D-1DE3-3FD3-069C-4F3BA01D2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2366123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slideLayout" Target="../slideLayouts/slideLayout121.xml"/><Relationship Id="rId18" Type="http://schemas.openxmlformats.org/officeDocument/2006/relationships/slideLayout" Target="../slideLayouts/slideLayout126.xml"/><Relationship Id="rId3" Type="http://schemas.openxmlformats.org/officeDocument/2006/relationships/slideLayout" Target="../slideLayouts/slideLayout111.xml"/><Relationship Id="rId21" Type="http://schemas.openxmlformats.org/officeDocument/2006/relationships/image" Target="../media/image14.emf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17" Type="http://schemas.openxmlformats.org/officeDocument/2006/relationships/slideLayout" Target="../slideLayouts/slideLayout125.xml"/><Relationship Id="rId2" Type="http://schemas.openxmlformats.org/officeDocument/2006/relationships/slideLayout" Target="../slideLayouts/slideLayout110.xml"/><Relationship Id="rId16" Type="http://schemas.openxmlformats.org/officeDocument/2006/relationships/slideLayout" Target="../slideLayouts/slideLayout124.xml"/><Relationship Id="rId20" Type="http://schemas.openxmlformats.org/officeDocument/2006/relationships/theme" Target="../theme/theme10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3.xml"/><Relationship Id="rId15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118.xml"/><Relationship Id="rId19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slideLayout" Target="../slideLayouts/slideLayout122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13" Type="http://schemas.openxmlformats.org/officeDocument/2006/relationships/slideLayout" Target="../slideLayouts/slideLayout140.xml"/><Relationship Id="rId18" Type="http://schemas.openxmlformats.org/officeDocument/2006/relationships/image" Target="../media/image24.emf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12" Type="http://schemas.openxmlformats.org/officeDocument/2006/relationships/slideLayout" Target="../slideLayouts/slideLayout139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29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5" Type="http://schemas.openxmlformats.org/officeDocument/2006/relationships/slideLayout" Target="../slideLayouts/slideLayout132.xml"/><Relationship Id="rId15" Type="http://schemas.openxmlformats.org/officeDocument/2006/relationships/theme" Target="../theme/theme11.xml"/><Relationship Id="rId10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Relationship Id="rId14" Type="http://schemas.openxmlformats.org/officeDocument/2006/relationships/slideLayout" Target="../slideLayouts/slideLayout14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4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image" Target="../media/image14.emf"/><Relationship Id="rId2" Type="http://schemas.openxmlformats.org/officeDocument/2006/relationships/slideLayout" Target="../slideLayouts/slideLayout29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slideLayout" Target="../slideLayouts/slideLayout68.xml"/><Relationship Id="rId3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63.xml"/><Relationship Id="rId34" Type="http://schemas.openxmlformats.org/officeDocument/2006/relationships/theme" Target="../theme/theme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slideLayout" Target="../slideLayouts/slideLayout67.xml"/><Relationship Id="rId33" Type="http://schemas.openxmlformats.org/officeDocument/2006/relationships/slideLayout" Target="../slideLayouts/slideLayout75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29" Type="http://schemas.openxmlformats.org/officeDocument/2006/relationships/slideLayout" Target="../slideLayouts/slideLayout71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32" Type="http://schemas.openxmlformats.org/officeDocument/2006/relationships/slideLayout" Target="../slideLayouts/slideLayout74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28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31" Type="http://schemas.openxmlformats.org/officeDocument/2006/relationships/slideLayout" Target="../slideLayouts/slideLayout73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Relationship Id="rId27" Type="http://schemas.openxmlformats.org/officeDocument/2006/relationships/slideLayout" Target="../slideLayouts/slideLayout69.xml"/><Relationship Id="rId30" Type="http://schemas.openxmlformats.org/officeDocument/2006/relationships/slideLayout" Target="../slideLayouts/slideLayout72.xml"/><Relationship Id="rId35" Type="http://schemas.openxmlformats.org/officeDocument/2006/relationships/image" Target="../media/image14.emf"/><Relationship Id="rId8" Type="http://schemas.openxmlformats.org/officeDocument/2006/relationships/slideLayout" Target="../slideLayouts/slideLayout5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2" Type="http://schemas.openxmlformats.org/officeDocument/2006/relationships/slideLayout" Target="../slideLayouts/slideLayout77.xml"/><Relationship Id="rId16" Type="http://schemas.openxmlformats.org/officeDocument/2006/relationships/image" Target="../media/image14.emf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0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94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slideLayout" Target="../slideLayouts/slideLayout101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102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7.xml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10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2479644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4019" r:id="rId6"/>
    <p:sldLayoutId id="2147483666" r:id="rId7"/>
    <p:sldLayoutId id="2147484018" r:id="rId8"/>
    <p:sldLayoutId id="2147483667" r:id="rId9"/>
    <p:sldLayoutId id="2147484017" r:id="rId10"/>
    <p:sldLayoutId id="2147483668" r:id="rId11"/>
    <p:sldLayoutId id="2147483669" r:id="rId12"/>
    <p:sldLayoutId id="2147484025" r:id="rId13"/>
    <p:sldLayoutId id="2147483670" r:id="rId14"/>
    <p:sldLayoutId id="2147483671" r:id="rId15"/>
    <p:sldLayoutId id="2147483672" r:id="rId16"/>
    <p:sldLayoutId id="2147484026" r:id="rId17"/>
    <p:sldLayoutId id="2147483673" r:id="rId18"/>
    <p:sldLayoutId id="2147484030" r:id="rId19"/>
    <p:sldLayoutId id="2147484031" r:id="rId20"/>
    <p:sldLayoutId id="2147484038" r:id="rId2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3649380-23AE-854E-9BC8-848AEBBD08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6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95602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925" r:id="rId3"/>
    <p:sldLayoutId id="2147483883" r:id="rId4"/>
    <p:sldLayoutId id="2147483896" r:id="rId5"/>
    <p:sldLayoutId id="2147483898" r:id="rId6"/>
    <p:sldLayoutId id="2147483897" r:id="rId7"/>
    <p:sldLayoutId id="2147483880" r:id="rId8"/>
    <p:sldLayoutId id="2147483869" r:id="rId9"/>
    <p:sldLayoutId id="2147483885" r:id="rId10"/>
    <p:sldLayoutId id="2147483886" r:id="rId11"/>
    <p:sldLayoutId id="2147483888" r:id="rId12"/>
    <p:sldLayoutId id="2147483922" r:id="rId13"/>
    <p:sldLayoutId id="2147483923" r:id="rId14"/>
    <p:sldLayoutId id="2147483924" r:id="rId15"/>
    <p:sldLayoutId id="2147483887" r:id="rId16"/>
    <p:sldLayoutId id="2147483966" r:id="rId17"/>
    <p:sldLayoutId id="2147483967" r:id="rId18"/>
    <p:sldLayoutId id="2147483968" r:id="rId1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6" pos="3840" userDrawn="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2285" y="1825625"/>
            <a:ext cx="1131346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7B5927-1581-294F-B094-8C1C0027CF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568413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06" imgH="403" progId="TCLayout.ActiveDocument.1">
                  <p:embed/>
                </p:oleObj>
              </mc:Choice>
              <mc:Fallback>
                <p:oleObj name="think-cell Slide" r:id="rId17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7B5927-1581-294F-B094-8C1C0027CF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06F0E88-EA22-6F44-8DFA-A231331C1A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5026A7-14AA-E140-B827-E87D9F8435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r>
              <a:rPr lang="en-US"/>
              <a:t>77</a:t>
            </a:r>
          </a:p>
        </p:txBody>
      </p:sp>
    </p:spTree>
    <p:extLst>
      <p:ext uri="{BB962C8B-B14F-4D97-AF65-F5344CB8AC3E}">
        <p14:creationId xmlns:p14="http://schemas.microsoft.com/office/powerpoint/2010/main" val="3241445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791" r:id="rId2"/>
    <p:sldLayoutId id="2147483803" r:id="rId3"/>
    <p:sldLayoutId id="2147483784" r:id="rId4"/>
    <p:sldLayoutId id="2147483785" r:id="rId5"/>
    <p:sldLayoutId id="2147483793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403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Magazine Grotesque Bold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868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2162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3884" r:id="rId2"/>
    <p:sldLayoutId id="2147484034" r:id="rId3"/>
    <p:sldLayoutId id="2147484033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864E1BE-276C-2AE9-C09F-9B5AE473E8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222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851" r:id="rId3"/>
    <p:sldLayoutId id="2147483853" r:id="rId4"/>
    <p:sldLayoutId id="2147483854" r:id="rId5"/>
    <p:sldLayoutId id="2147483823" r:id="rId6"/>
    <p:sldLayoutId id="2147484007" r:id="rId7"/>
    <p:sldLayoutId id="2147484008" r:id="rId8"/>
    <p:sldLayoutId id="2147484009" r:id="rId9"/>
    <p:sldLayoutId id="2147484010" r:id="rId10"/>
    <p:sldLayoutId id="2147484042" r:id="rId11"/>
    <p:sldLayoutId id="2147484048" r:id="rId12"/>
    <p:sldLayoutId id="2147484049" r:id="rId13"/>
    <p:sldLayoutId id="2147484050" r:id="rId14"/>
    <p:sldLayoutId id="2147484051" r:id="rId15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AA7FF24D-3083-F0BB-5689-D44065EF2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735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991" r:id="rId4"/>
    <p:sldLayoutId id="2147483992" r:id="rId5"/>
    <p:sldLayoutId id="2147483759" r:id="rId6"/>
    <p:sldLayoutId id="2147483760" r:id="rId7"/>
    <p:sldLayoutId id="2147483761" r:id="rId8"/>
    <p:sldLayoutId id="2147483762" r:id="rId9"/>
    <p:sldLayoutId id="2147483804" r:id="rId10"/>
    <p:sldLayoutId id="2147483807" r:id="rId11"/>
    <p:sldLayoutId id="2147483810" r:id="rId12"/>
    <p:sldLayoutId id="2147483813" r:id="rId13"/>
    <p:sldLayoutId id="2147483805" r:id="rId14"/>
    <p:sldLayoutId id="2147483808" r:id="rId15"/>
    <p:sldLayoutId id="2147483811" r:id="rId16"/>
    <p:sldLayoutId id="2147484028" r:id="rId17"/>
    <p:sldLayoutId id="2147483806" r:id="rId18"/>
    <p:sldLayoutId id="2147483809" r:id="rId19"/>
    <p:sldLayoutId id="2147483812" r:id="rId20"/>
    <p:sldLayoutId id="2147483815" r:id="rId21"/>
    <p:sldLayoutId id="2147483816" r:id="rId22"/>
    <p:sldLayoutId id="2147483817" r:id="rId23"/>
    <p:sldLayoutId id="2147483818" r:id="rId24"/>
    <p:sldLayoutId id="2147483819" r:id="rId25"/>
    <p:sldLayoutId id="2147484027" r:id="rId26"/>
    <p:sldLayoutId id="2147483822" r:id="rId27"/>
    <p:sldLayoutId id="2147484006" r:id="rId28"/>
    <p:sldLayoutId id="2147483994" r:id="rId29"/>
    <p:sldLayoutId id="2147483995" r:id="rId30"/>
    <p:sldLayoutId id="2147483996" r:id="rId31"/>
    <p:sldLayoutId id="2147484003" r:id="rId32"/>
    <p:sldLayoutId id="2147484039" r:id="rId3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5D7CD0AD-3FBA-9E80-E8BE-87BF97A9B0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073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4029" r:id="rId2"/>
    <p:sldLayoutId id="2147483764" r:id="rId3"/>
    <p:sldLayoutId id="2147483993" r:id="rId4"/>
    <p:sldLayoutId id="2147483765" r:id="rId5"/>
    <p:sldLayoutId id="2147483766" r:id="rId6"/>
    <p:sldLayoutId id="2147483767" r:id="rId7"/>
    <p:sldLayoutId id="2147483792" r:id="rId8"/>
    <p:sldLayoutId id="2147484035" r:id="rId9"/>
    <p:sldLayoutId id="2147483794" r:id="rId10"/>
    <p:sldLayoutId id="2147483997" r:id="rId11"/>
    <p:sldLayoutId id="2147483998" r:id="rId12"/>
    <p:sldLayoutId id="2147483999" r:id="rId13"/>
    <p:sldLayoutId id="2147483983" r:id="rId1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487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315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1397303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4024" r:id="rId3"/>
    <p:sldLayoutId id="2147483875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udysharpen.com/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6.png"/><Relationship Id="rId7" Type="http://schemas.microsoft.com/office/2007/relationships/hdphoto" Target="../media/hdphoto1.wdp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4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4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4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5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7" Type="http://schemas.openxmlformats.org/officeDocument/2006/relationships/image" Target="../media/image5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3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5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62.png"/><Relationship Id="rId4" Type="http://schemas.openxmlformats.org/officeDocument/2006/relationships/image" Target="../media/image5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6.png"/><Relationship Id="rId7" Type="http://schemas.microsoft.com/office/2007/relationships/hdphoto" Target="../media/hdphoto1.wdp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4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64.png"/><Relationship Id="rId4" Type="http://schemas.openxmlformats.org/officeDocument/2006/relationships/image" Target="../media/image46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6.pn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9.xml"/><Relationship Id="rId6" Type="http://schemas.microsoft.com/office/2007/relationships/hdphoto" Target="../media/hdphoto1.wdp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0.xml"/><Relationship Id="rId6" Type="http://schemas.openxmlformats.org/officeDocument/2006/relationships/image" Target="../media/image29.png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3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39.png"/><Relationship Id="rId5" Type="http://schemas.microsoft.com/office/2007/relationships/hdphoto" Target="../media/hdphoto1.wdp"/><Relationship Id="rId4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C5483EE-6588-8FB8-5E2B-7BC513C15E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004" y="1042819"/>
            <a:ext cx="7425786" cy="690503"/>
          </a:xfrm>
        </p:spPr>
        <p:txBody>
          <a:bodyPr>
            <a:normAutofit fontScale="90000"/>
          </a:bodyPr>
          <a:lstStyle/>
          <a:p>
            <a:r>
              <a:rPr lang="en-US" dirty="0"/>
              <a:t>Slides Available for the First Day of Class: Sharpen Companion, non-IA, Canvas</a:t>
            </a:r>
            <a:endParaRPr lang="en-US" sz="2000" b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67892B8-AB1F-0462-871B-2BFA44332D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95" y="1912707"/>
            <a:ext cx="8574933" cy="3746527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buFont typeface="Wingdings,Sans-Serif" panose="020B0604020202020204" pitchFamily="34" charset="0"/>
              <a:buChar char="q"/>
            </a:pPr>
            <a:r>
              <a:rPr lang="en-US" sz="1400" b="1" dirty="0">
                <a:latin typeface="Arial"/>
                <a:cs typeface="Arial"/>
              </a:rPr>
              <a:t>McGraw Hill GO </a:t>
            </a:r>
            <a:r>
              <a:rPr lang="en-US" sz="1400" dirty="0">
                <a:latin typeface="Arial"/>
                <a:cs typeface="Arial"/>
              </a:rPr>
              <a:t>2 – 7</a:t>
            </a:r>
            <a:endParaRPr lang="en-US" sz="1400" b="1" dirty="0">
              <a:latin typeface="Arial"/>
              <a:cs typeface="Arial"/>
            </a:endParaRPr>
          </a:p>
          <a:p>
            <a:pPr>
              <a:buFont typeface="Wingdings,Sans-Serif" panose="020B0604020202020204" pitchFamily="34" charset="0"/>
              <a:buChar char="q"/>
            </a:pPr>
            <a:r>
              <a:rPr lang="en-US" sz="1400" b="1" dirty="0">
                <a:latin typeface="Arial"/>
                <a:cs typeface="Arial"/>
              </a:rPr>
              <a:t>McGraw Hill GO and Sharpen</a:t>
            </a:r>
            <a:r>
              <a:rPr lang="en-US" sz="1400" dirty="0">
                <a:latin typeface="Arial"/>
                <a:cs typeface="Arial"/>
              </a:rPr>
              <a:t>:</a:t>
            </a:r>
            <a:endParaRPr lang="en-US" dirty="0"/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GO and Sharpen Companion FDOC Slides 8 – 12</a:t>
            </a:r>
            <a:endParaRPr lang="en-US" sz="1400" dirty="0"/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GO Purchase Flows</a:t>
            </a:r>
          </a:p>
          <a:p>
            <a:pPr lvl="2">
              <a:spcBef>
                <a:spcPts val="500"/>
              </a:spcBef>
              <a:buFont typeface="Wingdings" panose="020B0604020202020204" pitchFamily="34" charset="0"/>
              <a:buChar char="§"/>
            </a:pPr>
            <a:r>
              <a:rPr lang="en-US" dirty="0">
                <a:latin typeface="Arial"/>
                <a:cs typeface="Arial"/>
              </a:rPr>
              <a:t>Non-IA: GO with an LMS: Blackboard Slides 13 – 21</a:t>
            </a: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GO Log-In Flow – Slides 22 – 24</a:t>
            </a:r>
          </a:p>
          <a:p>
            <a:pPr>
              <a:buFont typeface="Wingdings,Sans-Serif" panose="020B0604020202020204" pitchFamily="34" charset="0"/>
              <a:buChar char="q"/>
            </a:pPr>
            <a:endParaRPr lang="en-US" sz="1400" dirty="0"/>
          </a:p>
          <a:p>
            <a:pPr>
              <a:buFont typeface="Wingdings" panose="020B0604020202020204" pitchFamily="34" charset="0"/>
              <a:buChar char="q"/>
            </a:pPr>
            <a:endParaRPr lang="en-US" sz="1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BDD4F1-225D-2004-AEB8-C78EE5CDD1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McGraw Hill</a:t>
            </a:r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54EA526-D390-E19A-BD6B-0CD609A59E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McGraw Hill First Day of Class 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98977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F463E3-077C-3A58-C1E8-B041FE7F99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5CBB8BF-CF40-008B-335C-E1C2C81DB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, here are some tips to ace your exams with Sharpen: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6BFD1-A69A-34C7-327D-C7873BCED9F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6"/>
            <a:ext cx="10706330" cy="4374092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Exam Prep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Spend 10 minutes on Quiz Bank to confirm what you know and check Improve for tips to master concepts you missed. </a:t>
            </a:r>
          </a:p>
          <a:p>
            <a:pPr>
              <a:spcAft>
                <a:spcPts val="600"/>
              </a:spcAft>
            </a:pPr>
            <a:endParaRPr lang="en-US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Weekly Review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Flip through Sharpen flashcards for 5 minutes to test yourself on chapters covered in class.  </a:t>
            </a:r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endParaRPr lang="en-US" sz="1800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Refresher Before Class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Spend 5 minutes on Sharpen summaries and videos to review key concepts.</a:t>
            </a:r>
            <a:endParaRPr lang="en-US" sz="1800"/>
          </a:p>
          <a:p>
            <a:pPr>
              <a:spcAft>
                <a:spcPts val="600"/>
              </a:spcAft>
            </a:pPr>
            <a:endParaRPr lang="en-US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24/7 Access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Download the Sharpen mobile phone app for iOS or Android. On laptops or tablets, log into Sharpen at </a:t>
            </a:r>
            <a:r>
              <a:rPr lang="en-US" sz="1800">
                <a:latin typeface="Arial"/>
                <a:cs typeface="Arial"/>
                <a:hlinkClick r:id="rId3"/>
              </a:rPr>
              <a:t>www.studysharpen.com</a:t>
            </a:r>
            <a:r>
              <a:rPr lang="en-US" sz="1800">
                <a:latin typeface="Arial"/>
                <a:cs typeface="Arial"/>
              </a:rPr>
              <a:t> or through the GO launch points. 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5C94D9E-FC4D-03A3-8DAE-A761D5DD98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GO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323430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D447DA-790C-DC08-B987-3996A92DD5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C464A10-43F9-3430-2972-CA8AE92783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GO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4919D9B-5B7C-9214-E598-94D20ED89F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2200"/>
              <a:t>Sharpen is the ultimate college study app for exam prep</a:t>
            </a:r>
            <a:endParaRPr lang="en-US" sz="2200" b="0">
              <a:solidFill>
                <a:srgbClr val="000000"/>
              </a:solidFill>
            </a:endParaRPr>
          </a:p>
        </p:txBody>
      </p:sp>
      <p:pic>
        <p:nvPicPr>
          <p:cNvPr id="15" name="Picture 14" descr="Screenshots of Sharpen features on a mobile phone, left to right:&#10;Videos.&#10;Chapter summaries.&#10;Flashcards.&#10;Quiz bank for exam prep.&#10;The Improve section.">
            <a:extLst>
              <a:ext uri="{FF2B5EF4-FFF2-40B4-BE49-F238E27FC236}">
                <a16:creationId xmlns:a16="http://schemas.microsoft.com/office/drawing/2014/main" id="{4D7329B5-9022-32EB-171E-63A1E3CCA9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854" y="1519947"/>
            <a:ext cx="11600292" cy="343893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42CA7E5D-8879-FB6D-FC14-543B8C66B393}"/>
              </a:ext>
            </a:extLst>
          </p:cNvPr>
          <p:cNvSpPr txBox="1"/>
          <p:nvPr/>
        </p:nvSpPr>
        <p:spPr>
          <a:xfrm>
            <a:off x="403621" y="5248436"/>
            <a:ext cx="11653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DEO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4357D24-178B-42E5-AB3D-6FDD8A46F991}"/>
              </a:ext>
            </a:extLst>
          </p:cNvPr>
          <p:cNvSpPr txBox="1"/>
          <p:nvPr/>
        </p:nvSpPr>
        <p:spPr>
          <a:xfrm>
            <a:off x="2569458" y="5170976"/>
            <a:ext cx="180777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PTER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MMARI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28A1D04-FFA7-A18E-39EB-83779F730771}"/>
              </a:ext>
            </a:extLst>
          </p:cNvPr>
          <p:cNvSpPr txBox="1"/>
          <p:nvPr/>
        </p:nvSpPr>
        <p:spPr>
          <a:xfrm>
            <a:off x="5067562" y="5294602"/>
            <a:ext cx="20057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LASHCARD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44B6544-82B2-43AD-ED31-6A2AB6AC827A}"/>
              </a:ext>
            </a:extLst>
          </p:cNvPr>
          <p:cNvSpPr txBox="1"/>
          <p:nvPr/>
        </p:nvSpPr>
        <p:spPr>
          <a:xfrm>
            <a:off x="7543610" y="5140714"/>
            <a:ext cx="200574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IZ BANK FOR EXAM PREP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663C3E1-5627-25CB-FD55-C9E58B6367C0}"/>
              </a:ext>
            </a:extLst>
          </p:cNvPr>
          <p:cNvSpPr txBox="1"/>
          <p:nvPr/>
        </p:nvSpPr>
        <p:spPr>
          <a:xfrm>
            <a:off x="10239677" y="5110764"/>
            <a:ext cx="14773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ROVE SECTION</a:t>
            </a:r>
          </a:p>
        </p:txBody>
      </p:sp>
    </p:spTree>
    <p:extLst>
      <p:ext uri="{BB962C8B-B14F-4D97-AF65-F5344CB8AC3E}">
        <p14:creationId xmlns:p14="http://schemas.microsoft.com/office/powerpoint/2010/main" val="38468920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907213-A707-EC3D-86F8-53F5E0D8C4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>
            <a:extLst>
              <a:ext uri="{FF2B5EF4-FFF2-40B4-BE49-F238E27FC236}">
                <a16:creationId xmlns:a16="http://schemas.microsoft.com/office/drawing/2014/main" id="{4B94B5E8-2BCF-1828-DB35-942AD1F907C9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383971" y="896257"/>
            <a:ext cx="7614557" cy="40011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wnload the Sharpen College Study App – Scan This Code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​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F276E3F-33FB-BE4F-F713-E9A4C880F5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GO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pic>
        <p:nvPicPr>
          <p:cNvPr id="7" name="Google Shape;407;p82" descr="Sharpen logo.">
            <a:extLst>
              <a:ext uri="{FF2B5EF4-FFF2-40B4-BE49-F238E27FC236}">
                <a16:creationId xmlns:a16="http://schemas.microsoft.com/office/drawing/2014/main" id="{BCD10E74-E6CC-69D3-273E-3F8B20555A35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195975" y="1296154"/>
            <a:ext cx="3566160" cy="895006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F13EC432-46B9-C464-C356-783397E4CF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195975" y="2114158"/>
            <a:ext cx="3566160" cy="3581973"/>
          </a:xfrm>
          <a:prstGeom prst="rect">
            <a:avLst/>
          </a:prstGeom>
          <a:solidFill>
            <a:srgbClr val="F6F7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agazine Grotesque" panose="00000500000000000000" pitchFamily="50" charset="0"/>
              <a:ea typeface="+mn-ea"/>
              <a:cs typeface="+mn-cs"/>
            </a:endParaRPr>
          </a:p>
        </p:txBody>
      </p:sp>
      <p:pic>
        <p:nvPicPr>
          <p:cNvPr id="20" name="Picture 19" descr="QR code to download Sharpen.">
            <a:extLst>
              <a:ext uri="{FF2B5EF4-FFF2-40B4-BE49-F238E27FC236}">
                <a16:creationId xmlns:a16="http://schemas.microsoft.com/office/drawing/2014/main" id="{F906D3EC-08BC-DD17-EAD4-7FD955FEB2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95975" y="2042355"/>
            <a:ext cx="3642847" cy="3653776"/>
          </a:xfrm>
          <a:prstGeom prst="rect">
            <a:avLst/>
          </a:prstGeom>
        </p:spPr>
      </p:pic>
      <p:pic>
        <p:nvPicPr>
          <p:cNvPr id="10" name="Picture 10" descr="Apple App Store icon.">
            <a:extLst>
              <a:ext uri="{FF2B5EF4-FFF2-40B4-BE49-F238E27FC236}">
                <a16:creationId xmlns:a16="http://schemas.microsoft.com/office/drawing/2014/main" id="{E6D44E2D-3B65-CCC9-347C-711DC31201D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0" b="5482"/>
          <a:stretch/>
        </p:blipFill>
        <p:spPr bwMode="auto">
          <a:xfrm>
            <a:off x="3527861" y="5875918"/>
            <a:ext cx="2451194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2" descr="Google Play Store icon.">
            <a:extLst>
              <a:ext uri="{FF2B5EF4-FFF2-40B4-BE49-F238E27FC236}">
                <a16:creationId xmlns:a16="http://schemas.microsoft.com/office/drawing/2014/main" id="{F1A3E2B8-A8B1-7C32-EA1C-7A2D9E7CFB4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50" t="16958" r="10618" b="17565"/>
          <a:stretch/>
        </p:blipFill>
        <p:spPr bwMode="auto">
          <a:xfrm>
            <a:off x="6122230" y="5875918"/>
            <a:ext cx="2451195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7667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18C956-BA12-9B0A-A0C3-E6E98A66CB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C226EA-6B8D-123B-A02F-C52E17DCF1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0C50471-9679-0B14-B87B-ED31FADA15F2}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>
                <a:latin typeface="Arial"/>
                <a:cs typeface="Arial"/>
              </a:rPr>
              <a:t>Getting Started with McGraw Hill GO</a:t>
            </a:r>
            <a:r>
              <a:rPr lang="en-US" baseline="30000">
                <a:latin typeface="Arial"/>
                <a:cs typeface="Arial"/>
              </a:rPr>
              <a:t>®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  <a:latin typeface="Arial"/>
                <a:cs typeface="Arial"/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0D3FA68-E9EB-2F7C-383A-89CC870333EF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01373" y="4090759"/>
            <a:ext cx="3572059" cy="678629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hat to Know on Your</a:t>
            </a:r>
            <a:b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irst Day of Clas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029465-4BED-8319-FA0E-043C2BDCBA6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27490" y="1714895"/>
            <a:ext cx="7081838" cy="4450670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sz="2400" b="1">
                <a:latin typeface="Arial"/>
                <a:cs typeface="Arial"/>
              </a:rPr>
              <a:t>Sharpen Companion Purchase Flow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2000" b="1">
                <a:solidFill>
                  <a:srgbClr val="333333"/>
                </a:solidFill>
                <a:latin typeface="Arial"/>
                <a:cs typeface="Arial"/>
              </a:rPr>
              <a:t>GO: Non-IA Integrated with a Learning Management System (LMS)</a:t>
            </a:r>
            <a:endParaRPr lang="en-US" sz="2000" b="1">
              <a:solidFill>
                <a:srgbClr val="333333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1200"/>
              </a:spcBef>
              <a:buNone/>
            </a:pPr>
            <a:endParaRPr lang="en-US" sz="1400" b="1">
              <a:latin typeface="Arial"/>
              <a:cs typeface="Arial"/>
            </a:endParaRPr>
          </a:p>
          <a:p>
            <a:pPr marL="0" indent="0">
              <a:lnSpc>
                <a:spcPct val="100000"/>
              </a:lnSpc>
              <a:spcBef>
                <a:spcPts val="1200"/>
              </a:spcBef>
              <a:buNone/>
            </a:pPr>
            <a:endParaRPr lang="en-US" sz="14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D5FB43A-034C-3848-81B3-CAC79A1A71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42" t="15990" b="239"/>
          <a:stretch/>
        </p:blipFill>
        <p:spPr>
          <a:xfrm>
            <a:off x="3884263" y="3036615"/>
            <a:ext cx="4832785" cy="3812191"/>
          </a:xfrm>
          <a:prstGeom prst="rect">
            <a:avLst/>
          </a:prstGeom>
        </p:spPr>
      </p:pic>
      <p:pic>
        <p:nvPicPr>
          <p:cNvPr id="17" name="Picture 16" descr="Sharpen on a computer and mobile phone.">
            <a:extLst>
              <a:ext uri="{FF2B5EF4-FFF2-40B4-BE49-F238E27FC236}">
                <a16:creationId xmlns:a16="http://schemas.microsoft.com/office/drawing/2014/main" id="{55D02419-737E-4296-181C-4CFAC10BC3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2041" y="2958729"/>
            <a:ext cx="2562641" cy="1959862"/>
          </a:xfrm>
          <a:prstGeom prst="rect">
            <a:avLst/>
          </a:prstGeom>
        </p:spPr>
      </p:pic>
      <p:grpSp>
        <p:nvGrpSpPr>
          <p:cNvPr id="15" name="Group 14" descr="GO on a computer screen.">
            <a:extLst>
              <a:ext uri="{FF2B5EF4-FFF2-40B4-BE49-F238E27FC236}">
                <a16:creationId xmlns:a16="http://schemas.microsoft.com/office/drawing/2014/main" id="{17DD0595-6E30-8A68-B26C-88F5F436C57A}"/>
              </a:ext>
            </a:extLst>
          </p:cNvPr>
          <p:cNvGrpSpPr/>
          <p:nvPr/>
        </p:nvGrpSpPr>
        <p:grpSpPr>
          <a:xfrm>
            <a:off x="7937330" y="4767191"/>
            <a:ext cx="2163757" cy="1870872"/>
            <a:chOff x="2661057" y="4201464"/>
            <a:chExt cx="2937302" cy="240196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FC2D622-DCD5-1007-0F1E-3DC4234D1903}"/>
                </a:ext>
              </a:extLst>
            </p:cNvPr>
            <p:cNvGrpSpPr/>
            <p:nvPr/>
          </p:nvGrpSpPr>
          <p:grpSpPr>
            <a:xfrm>
              <a:off x="2661057" y="4201464"/>
              <a:ext cx="2937302" cy="2401962"/>
              <a:chOff x="-3150430" y="816996"/>
              <a:chExt cx="2937302" cy="2401962"/>
            </a:xfrm>
          </p:grpSpPr>
          <p:pic>
            <p:nvPicPr>
              <p:cNvPr id="13" name="Picture 12" descr="Course with McGraw Hill Connect ...">
                <a:extLst>
                  <a:ext uri="{FF2B5EF4-FFF2-40B4-BE49-F238E27FC236}">
                    <a16:creationId xmlns:a16="http://schemas.microsoft.com/office/drawing/2014/main" id="{8CE36155-20A3-D23D-4C54-FA6F93F560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2975189" y="1058723"/>
                <a:ext cx="2596243" cy="1298121"/>
              </a:xfrm>
              <a:prstGeom prst="rect">
                <a:avLst/>
              </a:prstGeom>
            </p:spPr>
          </p:pic>
          <p:pic>
            <p:nvPicPr>
              <p:cNvPr id="14" name="Picture 2" descr="Mac Icon png download - 1153*945 - Free Transparent Macbook Pro png  Download. - CleanPNG / KissPNG">
                <a:extLst>
                  <a:ext uri="{FF2B5EF4-FFF2-40B4-BE49-F238E27FC236}">
                    <a16:creationId xmlns:a16="http://schemas.microsoft.com/office/drawing/2014/main" id="{FFFF002C-1659-95F0-B7D8-7D219D51123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2568" b="96216" l="1000" r="99667">
                            <a14:foregroundMark x1="1000" y1="6351" x2="1000" y2="6351"/>
                            <a14:foregroundMark x1="3333" y1="4459" x2="13889" y2="3378"/>
                            <a14:foregroundMark x1="13889" y1="3378" x2="14111" y2="3243"/>
                            <a14:foregroundMark x1="65889" y1="3243" x2="78667" y2="3378"/>
                            <a14:foregroundMark x1="97222" y1="3649" x2="98222" y2="6757"/>
                            <a14:foregroundMark x1="83444" y1="71216" x2="90111" y2="72027"/>
                            <a14:foregroundMark x1="61111" y1="75946" x2="73889" y2="76216"/>
                            <a14:foregroundMark x1="46333" y1="77838" x2="57889" y2="78378"/>
                            <a14:foregroundMark x1="10111" y1="71892" x2="76444" y2="80676"/>
                            <a14:foregroundMark x1="76444" y1="80676" x2="90778" y2="79054"/>
                            <a14:foregroundMark x1="3889" y1="4730" x2="1222" y2="30000"/>
                            <a14:foregroundMark x1="26222" y1="3243" x2="60111" y2="2568"/>
                            <a14:foregroundMark x1="96556" y1="6892" x2="99667" y2="48784"/>
                            <a14:foregroundMark x1="99667" y1="48784" x2="97222" y2="70811"/>
                            <a14:foregroundMark x1="83778" y1="71622" x2="61111" y2="72703"/>
                            <a14:foregroundMark x1="3667" y1="70270" x2="29222" y2="73108"/>
                            <a14:foregroundMark x1="29222" y1="73108" x2="66444" y2="71622"/>
                            <a14:foregroundMark x1="1889" y1="77973" x2="20667" y2="77568"/>
                            <a14:foregroundMark x1="2000" y1="41486" x2="3667" y2="48784"/>
                            <a14:foregroundMark x1="2000" y1="29730" x2="2667" y2="70541"/>
                            <a14:foregroundMark x1="18333" y1="3243" x2="26111" y2="3378"/>
                            <a14:foregroundMark x1="48000" y1="87027" x2="54111" y2="86351"/>
                            <a14:foregroundMark x1="43111" y1="86081" x2="51556" y2="95811"/>
                            <a14:foregroundMark x1="51556" y1="95811" x2="56889" y2="96216"/>
                            <a14:foregroundMark x1="96556" y1="79054" x2="96556" y2="79054"/>
                            <a14:foregroundMark x1="94889" y1="77432" x2="95556" y2="80405"/>
                            <a14:foregroundMark x1="66667" y1="83919" x2="83222" y2="84189"/>
                            <a14:foregroundMark x1="83222" y1="84189" x2="98333" y2="82973"/>
                            <a14:foregroundMark x1="98333" y1="82973" x2="99556" y2="74865"/>
                            <a14:foregroundMark x1="99556" y1="74865" x2="90556" y2="73514"/>
                            <a14:foregroundMark x1="90556" y1="73514" x2="71333" y2="79459"/>
                            <a14:foregroundMark x1="71333" y1="79459" x2="66778" y2="83243"/>
                            <a14:backgroundMark x1="13556" y1="11486" x2="14778" y2="18378"/>
                            <a14:backgroundMark x1="14778" y1="18378" x2="40889" y2="21351"/>
                            <a14:backgroundMark x1="40889" y1="21351" x2="78222" y2="49054"/>
                            <a14:backgroundMark x1="93333" y1="94189" x2="80000" y2="89730"/>
                            <a14:backgroundMark x1="29000" y1="92703" x2="8667" y2="93243"/>
                            <a14:backgroundMark x1="64333" y1="89459" x2="71667" y2="92432"/>
                            <a14:backgroundMark x1="71667" y1="92432" x2="73889" y2="98514"/>
                            <a14:backgroundMark x1="65889" y1="97703" x2="61556" y2="90946"/>
                            <a14:backgroundMark x1="61556" y1="90946" x2="69930" y2="86898"/>
                            <a14:backgroundMark x1="93618" y1="86176" x2="99333" y2="94865"/>
                            <a14:backgroundMark x1="99333" y1="94865" x2="99333" y2="982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9"/>
              <a:stretch/>
            </p:blipFill>
            <p:spPr bwMode="auto">
              <a:xfrm>
                <a:off x="-3150430" y="816996"/>
                <a:ext cx="2937302" cy="2401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1" name="Picture 10" descr="McGraw Hill GO">
              <a:extLst>
                <a:ext uri="{FF2B5EF4-FFF2-40B4-BE49-F238E27FC236}">
                  <a16:creationId xmlns:a16="http://schemas.microsoft.com/office/drawing/2014/main" id="{4C7C94C0-9DF1-3257-66DB-868364ED504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830575" y="4458092"/>
              <a:ext cx="2588079" cy="124876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1777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D36C09F-B439-09FE-A7A7-0F8C9627B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2716137"/>
            <a:ext cx="2308129" cy="1948908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Accessing McGraw Hill GO:</a:t>
            </a:r>
            <a:br>
              <a:rPr lang="en-US">
                <a:latin typeface="Arial"/>
                <a:cs typeface="Arial"/>
              </a:rPr>
            </a:br>
            <a:br>
              <a:rPr lang="en-US">
                <a:latin typeface="Arial"/>
                <a:cs typeface="Arial"/>
              </a:rPr>
            </a:br>
            <a:r>
              <a:rPr lang="en-US">
                <a:latin typeface="Arial"/>
                <a:cs typeface="Arial"/>
              </a:rPr>
              <a:t>Canva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B5F1E2-17B3-A013-C959-291EBE67D7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4407B9-C4FE-A26A-3361-0E8BFA6B376A}"/>
              </a:ext>
            </a:extLst>
          </p:cNvPr>
          <p:cNvSpPr txBox="1"/>
          <p:nvPr/>
        </p:nvSpPr>
        <p:spPr>
          <a:xfrm>
            <a:off x="4496615" y="1627094"/>
            <a:ext cx="173915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Arial"/>
                <a:ea typeface="Calibri"/>
                <a:cs typeface="Calibri"/>
              </a:rPr>
              <a:t>Step 1</a:t>
            </a:r>
            <a:endParaRPr lang="en-US" sz="2400" b="1">
              <a:latin typeface="Arial"/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77F7F22-620F-D413-39D6-32D26963AC64}"/>
              </a:ext>
            </a:extLst>
          </p:cNvPr>
          <p:cNvSpPr txBox="1"/>
          <p:nvPr/>
        </p:nvSpPr>
        <p:spPr>
          <a:xfrm>
            <a:off x="4500561" y="2138795"/>
            <a:ext cx="3444153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To access McGraw Hill GO from your Canvas course, click the McGraw Hill GO assignment.</a:t>
            </a:r>
            <a:endParaRPr lang="en-US"/>
          </a:p>
        </p:txBody>
      </p:sp>
      <p:pic>
        <p:nvPicPr>
          <p:cNvPr id="5" name="Picture 5" descr="Screenshot of Assignment in Canvas platform. Yellow rectangle highlights the assignment.">
            <a:extLst>
              <a:ext uri="{FF2B5EF4-FFF2-40B4-BE49-F238E27FC236}">
                <a16:creationId xmlns:a16="http://schemas.microsoft.com/office/drawing/2014/main" id="{85735E9F-3933-DA6A-FE11-779DA68ADA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37809" y="3062962"/>
            <a:ext cx="7505699" cy="24725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6C44E28-17C5-56F0-AAE0-38B7629524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41883" y="4331935"/>
            <a:ext cx="1705592" cy="374567"/>
          </a:xfrm>
          <a:prstGeom prst="rect">
            <a:avLst/>
          </a:prstGeom>
          <a:ln>
            <a:solidFill>
              <a:srgbClr val="FFFF00"/>
            </a:solidFill>
          </a:ln>
        </p:spPr>
      </p:pic>
    </p:spTree>
    <p:extLst>
      <p:ext uri="{BB962C8B-B14F-4D97-AF65-F5344CB8AC3E}">
        <p14:creationId xmlns:p14="http://schemas.microsoft.com/office/powerpoint/2010/main" val="34313439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71391D-E201-BA3C-3345-95AE0DBC1E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65C88F3-1965-F346-9280-E8054823A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2716137"/>
            <a:ext cx="2308129" cy="1948908"/>
          </a:xfrm>
        </p:spPr>
        <p:txBody>
          <a:bodyPr>
            <a:normAutofit fontScale="90000"/>
          </a:bodyPr>
          <a:lstStyle/>
          <a:p>
            <a:r>
              <a:rPr lang="en-US" dirty="0">
                <a:latin typeface="Arial"/>
                <a:cs typeface="Arial"/>
              </a:rPr>
              <a:t>Accessing McGraw Hill GO:</a:t>
            </a:r>
            <a:br>
              <a:rPr lang="en-US" dirty="0">
                <a:latin typeface="Arial"/>
                <a:cs typeface="Arial"/>
              </a:rPr>
            </a:br>
            <a:br>
              <a:rPr lang="en-US" dirty="0">
                <a:latin typeface="Arial"/>
                <a:cs typeface="Arial"/>
              </a:rPr>
            </a:br>
            <a:r>
              <a:rPr lang="en-US" dirty="0">
                <a:latin typeface="Arial"/>
                <a:cs typeface="Arial"/>
              </a:rPr>
              <a:t>Canvas</a:t>
            </a:r>
            <a:br>
              <a:rPr lang="en-US" dirty="0">
                <a:latin typeface="Arial"/>
                <a:cs typeface="Arial"/>
              </a:rPr>
            </a:br>
            <a:r>
              <a:rPr lang="en-US" dirty="0">
                <a:latin typeface="Arial"/>
                <a:cs typeface="Arial"/>
              </a:rPr>
              <a:t>Launch Assignm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15A62B-C6E1-B89F-441E-8073EAD973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FB2B50E-1FF2-7163-E66F-4284DEDDD39A}"/>
              </a:ext>
            </a:extLst>
          </p:cNvPr>
          <p:cNvSpPr txBox="1"/>
          <p:nvPr/>
        </p:nvSpPr>
        <p:spPr>
          <a:xfrm>
            <a:off x="4496615" y="1627094"/>
            <a:ext cx="173915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Arial"/>
                <a:ea typeface="Calibri"/>
                <a:cs typeface="Calibri"/>
              </a:rPr>
              <a:t>Step 2</a:t>
            </a:r>
            <a:endParaRPr lang="en-US" sz="2400" b="1">
              <a:latin typeface="Arial"/>
              <a:cs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3A73DE0-A8C0-3BAF-9900-1831AF814678}"/>
              </a:ext>
            </a:extLst>
          </p:cNvPr>
          <p:cNvSpPr txBox="1"/>
          <p:nvPr/>
        </p:nvSpPr>
        <p:spPr>
          <a:xfrm>
            <a:off x="4639106" y="2231159"/>
            <a:ext cx="454097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Clicking on a GO assignment launches the Course Access Page. On this page, click </a:t>
            </a:r>
            <a:r>
              <a:rPr lang="en-US" b="1">
                <a:cs typeface="Calibri"/>
              </a:rPr>
              <a:t>Begin</a:t>
            </a:r>
            <a:r>
              <a:rPr lang="en-US">
                <a:cs typeface="Calibri"/>
              </a:rPr>
              <a:t>.  </a:t>
            </a:r>
            <a:endParaRPr lang="en-US">
              <a:ea typeface="Calibri"/>
              <a:cs typeface="Calibri"/>
            </a:endParaRPr>
          </a:p>
        </p:txBody>
      </p:sp>
      <p:pic>
        <p:nvPicPr>
          <p:cNvPr id="6" name="Picture 5" descr="GO registration launch point screenshot.">
            <a:extLst>
              <a:ext uri="{FF2B5EF4-FFF2-40B4-BE49-F238E27FC236}">
                <a16:creationId xmlns:a16="http://schemas.microsoft.com/office/drawing/2014/main" id="{D42719DA-CB14-B2F1-2CD1-152C78E8DC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9429" y="2858324"/>
            <a:ext cx="5569858" cy="138792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6A8D537-0422-1948-1A88-5CE3A1124B82}"/>
              </a:ext>
            </a:extLst>
          </p:cNvPr>
          <p:cNvSpPr txBox="1"/>
          <p:nvPr/>
        </p:nvSpPr>
        <p:spPr>
          <a:xfrm>
            <a:off x="5966834" y="4343979"/>
            <a:ext cx="5141335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If your assignment launches in a new tab but your browser does not open it, click </a:t>
            </a:r>
            <a:r>
              <a:rPr lang="en-US" b="1">
                <a:cs typeface="Calibri"/>
              </a:rPr>
              <a:t>Launch Assignment</a:t>
            </a:r>
            <a:r>
              <a:rPr lang="en-US">
                <a:cs typeface="Calibri"/>
              </a:rPr>
              <a:t>. </a:t>
            </a:r>
            <a:endParaRPr lang="en-US">
              <a:ea typeface="Calibri"/>
              <a:cs typeface="Calibri"/>
            </a:endParaRPr>
          </a:p>
        </p:txBody>
      </p:sp>
      <p:pic>
        <p:nvPicPr>
          <p:cNvPr id="7" name="Picture 6" descr="GO registration launch point screenshot.">
            <a:extLst>
              <a:ext uri="{FF2B5EF4-FFF2-40B4-BE49-F238E27FC236}">
                <a16:creationId xmlns:a16="http://schemas.microsoft.com/office/drawing/2014/main" id="{43731934-FDE5-C168-3298-69AAFD7F2F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53546" y="5006666"/>
            <a:ext cx="5391728" cy="1405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1192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B1196A-8BD5-D071-5AA4-B408B6D436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DF5BE6B-F80D-23F3-B1C4-E040F0F95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2716137"/>
            <a:ext cx="2308129" cy="1948908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Accessing McGraw Hill GO:</a:t>
            </a:r>
            <a:br>
              <a:rPr lang="en-US">
                <a:latin typeface="Arial"/>
                <a:cs typeface="Arial"/>
              </a:rPr>
            </a:br>
            <a:br>
              <a:rPr lang="en-US">
                <a:latin typeface="Arial"/>
                <a:cs typeface="Arial"/>
              </a:rPr>
            </a:br>
            <a:r>
              <a:rPr lang="en-US">
                <a:latin typeface="Arial"/>
                <a:cs typeface="Arial"/>
              </a:rPr>
              <a:t>Sharp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131E1B-5EA4-712E-D484-41A87A28AD9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C3E97A4-3D6F-9A2D-A269-DBC38FBE896D}"/>
              </a:ext>
            </a:extLst>
          </p:cNvPr>
          <p:cNvSpPr txBox="1"/>
          <p:nvPr/>
        </p:nvSpPr>
        <p:spPr>
          <a:xfrm>
            <a:off x="4496615" y="1627094"/>
            <a:ext cx="173915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Arial"/>
                <a:ea typeface="Calibri"/>
                <a:cs typeface="Calibri"/>
              </a:rPr>
              <a:t>Step 3</a:t>
            </a:r>
            <a:endParaRPr lang="en-US" sz="2400" b="1">
              <a:latin typeface="Arial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478FC7D3-8432-D99F-F873-0FC62898E07A}"/>
              </a:ext>
            </a:extLst>
          </p:cNvPr>
          <p:cNvSpPr txBox="1">
            <a:spLocks/>
          </p:cNvSpPr>
          <p:nvPr/>
        </p:nvSpPr>
        <p:spPr>
          <a:xfrm>
            <a:off x="4498385" y="2088415"/>
            <a:ext cx="7616060" cy="188222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20000"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900">
                <a:solidFill>
                  <a:srgbClr val="333333"/>
                </a:solidFill>
                <a:latin typeface="Arial"/>
                <a:cs typeface="Arial"/>
              </a:rPr>
              <a:t>The first time you launch a GO assignment,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you will see three registration options (right to left):</a:t>
            </a:r>
            <a:endParaRPr lang="en-US" sz="1800">
              <a:solidFill>
                <a:srgbClr val="000000"/>
              </a:solidFill>
            </a:endParaRPr>
          </a:p>
          <a:p>
            <a:pPr marL="342900" indent="-342900">
              <a:buAutoNum type="alphaUcPeriod"/>
            </a:pPr>
            <a:r>
              <a:rPr lang="en-US" sz="1800" b="1">
                <a:solidFill>
                  <a:srgbClr val="EC7700"/>
                </a:solidFill>
                <a:latin typeface="Arial"/>
                <a:cs typeface="Arial"/>
              </a:rPr>
              <a:t>Purchase Online:</a:t>
            </a:r>
            <a:r>
              <a:rPr lang="en-US" sz="1800" b="1">
                <a:solidFill>
                  <a:srgbClr val="ED7D31"/>
                </a:solidFill>
                <a:latin typeface="Arial"/>
                <a:cs typeface="Arial"/>
              </a:rPr>
              <a:t>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Purchase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to use a credit card or PayPal.</a:t>
            </a:r>
            <a:endParaRPr lang="en-US" sz="1800">
              <a:solidFill>
                <a:srgbClr val="333333"/>
              </a:solidFill>
              <a:latin typeface="Arial"/>
              <a:cs typeface="Arial"/>
            </a:endParaRPr>
          </a:p>
          <a:p>
            <a:pPr marL="342900" indent="-342900">
              <a:buAutoNum type="alphaUcPeriod"/>
            </a:pPr>
            <a:r>
              <a:rPr lang="en-US" sz="1800" b="1">
                <a:solidFill>
                  <a:srgbClr val="692146"/>
                </a:solidFill>
                <a:latin typeface="Arial"/>
                <a:cs typeface="Arial"/>
              </a:rPr>
              <a:t>Enter Code</a:t>
            </a:r>
            <a:r>
              <a:rPr lang="en-US" sz="1800" b="1">
                <a:solidFill>
                  <a:srgbClr val="7030A0"/>
                </a:solidFill>
                <a:latin typeface="Arial"/>
                <a:cs typeface="Arial"/>
              </a:rPr>
              <a:t>: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Enter a Connect and Sharpen access code and click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 Redeem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  </a:t>
            </a:r>
            <a:endParaRPr lang="en-US" sz="1800">
              <a:solidFill>
                <a:srgbClr val="333333"/>
              </a:solidFill>
              <a:latin typeface="Arial"/>
              <a:cs typeface="Arial"/>
            </a:endParaRPr>
          </a:p>
          <a:p>
            <a:pPr marL="342900" indent="-342900">
              <a:buAutoNum type="alphaUcPeriod"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Temporary Access: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lick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 Access Now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for two-week temporary access. Note this unlocks GO only and not Sharpen. </a:t>
            </a:r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FE44DD4-9BB3-D26A-A21C-8B0ADFBDD1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5732" y="4348842"/>
            <a:ext cx="2542723" cy="2079173"/>
          </a:xfrm>
          <a:prstGeom prst="rect">
            <a:avLst/>
          </a:prstGeom>
        </p:spPr>
      </p:pic>
      <p:pic>
        <p:nvPicPr>
          <p:cNvPr id="2" name="Picture 1" descr="Course access page screenshot showing the 3 registration options: purchase online, enter access code, or activate temporary access.">
            <a:extLst>
              <a:ext uri="{FF2B5EF4-FFF2-40B4-BE49-F238E27FC236}">
                <a16:creationId xmlns:a16="http://schemas.microsoft.com/office/drawing/2014/main" id="{222F1DA7-5553-AEF3-57CE-F2DA94A1DD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934" y="3973284"/>
            <a:ext cx="3762777" cy="2730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2435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E3EC32-5740-A1DF-C930-8D765448A1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CF809B-17AC-E124-B113-4147ACCEF3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41BBB5C-E571-4E7D-578F-9DA2090B0794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759388" y="1111623"/>
            <a:ext cx="3942773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4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EC77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32A0B03-97F2-3444-ACC9-89A797F47B0A}"/>
              </a:ext>
            </a:extLst>
          </p:cNvPr>
          <p:cNvSpPr txBox="1">
            <a:spLocks/>
          </p:cNvSpPr>
          <p:nvPr/>
        </p:nvSpPr>
        <p:spPr>
          <a:xfrm>
            <a:off x="6755934" y="1718796"/>
            <a:ext cx="4852666" cy="1969636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AutoNum type="alphaUcPeriod"/>
            </a:pPr>
            <a:r>
              <a:rPr lang="en-US" sz="1800" b="1">
                <a:solidFill>
                  <a:srgbClr val="EC7700"/>
                </a:solidFill>
                <a:latin typeface="Arial"/>
                <a:cs typeface="Arial"/>
              </a:rPr>
              <a:t>Purchase Online: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Click </a:t>
            </a:r>
            <a:r>
              <a:rPr lang="en-US" sz="1700" b="1">
                <a:solidFill>
                  <a:srgbClr val="000000"/>
                </a:solidFill>
                <a:latin typeface="Arial"/>
                <a:cs typeface="Arial"/>
              </a:rPr>
              <a:t>Purchase 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to use a credit card or PayPal. Enter your payment information and click "</a:t>
            </a:r>
            <a:r>
              <a:rPr lang="en-US" sz="1700" b="1">
                <a:solidFill>
                  <a:srgbClr val="000000"/>
                </a:solidFill>
                <a:latin typeface="Arial"/>
                <a:cs typeface="Arial"/>
              </a:rPr>
              <a:t>Place Order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". A purchase confirmation screen will load.</a:t>
            </a:r>
          </a:p>
          <a:p>
            <a:pPr marL="0" indent="0">
              <a:buNone/>
            </a:pPr>
            <a:endParaRPr lang="en-US" sz="170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Congratulations! You have successfully completed your GO and Sharpen Companion purchase.</a:t>
            </a: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  <a:buAutoNum type="alphaUcPeriod"/>
            </a:pPr>
            <a:endParaRPr lang="en-US" sz="1800">
              <a:solidFill>
                <a:srgbClr val="333333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02C38E1-C5FB-E9ED-4E37-34FCE40718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831" y="825499"/>
            <a:ext cx="3242984" cy="2866573"/>
          </a:xfrm>
          <a:prstGeom prst="rect">
            <a:avLst/>
          </a:prstGeom>
        </p:spPr>
      </p:pic>
      <p:pic>
        <p:nvPicPr>
          <p:cNvPr id="5" name="Picture 4" descr="Secure checkout page screenshot. ">
            <a:extLst>
              <a:ext uri="{FF2B5EF4-FFF2-40B4-BE49-F238E27FC236}">
                <a16:creationId xmlns:a16="http://schemas.microsoft.com/office/drawing/2014/main" id="{D359442D-CE1A-9314-45D3-69E032E4F0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8131" y="819508"/>
            <a:ext cx="3927551" cy="286109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0292B59-55A5-AD29-98D4-59CBFE5C8C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09455" y="3891069"/>
            <a:ext cx="5091546" cy="2701133"/>
          </a:xfrm>
          <a:prstGeom prst="rect">
            <a:avLst/>
          </a:prstGeom>
        </p:spPr>
      </p:pic>
      <p:pic>
        <p:nvPicPr>
          <p:cNvPr id="7" name="Picture 6" descr="Post-purchase confirmation page screenshot.">
            <a:extLst>
              <a:ext uri="{FF2B5EF4-FFF2-40B4-BE49-F238E27FC236}">
                <a16:creationId xmlns:a16="http://schemas.microsoft.com/office/drawing/2014/main" id="{0399EC1B-C014-D873-0E4F-DA272B81C9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05847" y="3897600"/>
            <a:ext cx="5075671" cy="2699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075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72EF54-706F-46BA-00E4-1E06EE345B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3E9719-100E-CACA-3121-8FE1519FC7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70F00-D19A-4BA1-50FF-EA3660520AF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759388" y="1111623"/>
            <a:ext cx="3942773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4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49000"/>
                  </a:schemeClr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B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-4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C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7874784-0BC5-4E1B-639E-D66B8524D19B}"/>
              </a:ext>
            </a:extLst>
          </p:cNvPr>
          <p:cNvSpPr txBox="1">
            <a:spLocks/>
          </p:cNvSpPr>
          <p:nvPr/>
        </p:nvSpPr>
        <p:spPr>
          <a:xfrm>
            <a:off x="6755934" y="1718796"/>
            <a:ext cx="4752881" cy="338477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>
                <a:solidFill>
                  <a:srgbClr val="692146"/>
                </a:solidFill>
                <a:latin typeface="Arial"/>
                <a:cs typeface="Arial"/>
              </a:rPr>
              <a:t>B. Enter Code</a:t>
            </a:r>
            <a:r>
              <a:rPr lang="en-US" sz="1800" b="1">
                <a:solidFill>
                  <a:srgbClr val="7030A0"/>
                </a:solidFill>
                <a:latin typeface="Arial"/>
                <a:cs typeface="Arial"/>
              </a:rPr>
              <a:t>: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 The Access Code Confirmation Screen appears. 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Confirm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</a:t>
            </a:r>
            <a:endParaRPr lang="en-US" sz="1800">
              <a:solidFill>
                <a:srgbClr val="333333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C. Temporary Access: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 The Digital access confirmation screen appears. On the next screen, 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Confirm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</a:t>
            </a:r>
            <a:endParaRPr lang="en-US"/>
          </a:p>
          <a:p>
            <a:pPr>
              <a:spcAft>
                <a:spcPts val="900"/>
              </a:spcAft>
              <a:buAutoNum type="arabicPeriod"/>
            </a:pPr>
            <a:endParaRPr lang="en-US" sz="1800">
              <a:solidFill>
                <a:srgbClr val="333333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14D12C-CCDB-CC7A-E623-F128FE4194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83625" y="4367537"/>
            <a:ext cx="4053862" cy="2122177"/>
          </a:xfrm>
          <a:prstGeom prst="rect">
            <a:avLst/>
          </a:prstGeom>
        </p:spPr>
      </p:pic>
      <p:pic>
        <p:nvPicPr>
          <p:cNvPr id="11" name="Picture 6">
            <a:extLst>
              <a:ext uri="{FF2B5EF4-FFF2-40B4-BE49-F238E27FC236}">
                <a16:creationId xmlns:a16="http://schemas.microsoft.com/office/drawing/2014/main" id="{93090938-B3EE-D725-17A3-E725DE178E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6853" y="1363589"/>
            <a:ext cx="4999657" cy="199402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66B3254-28CA-A68A-DF9A-A26F3A42CD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180974" y="2299030"/>
            <a:ext cx="1766207" cy="200055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700" b="1">
                <a:ea typeface="Calibri"/>
                <a:cs typeface="Calibri"/>
              </a:rPr>
              <a:t>Intro to Sociology: GO with Sharpen</a:t>
            </a:r>
          </a:p>
        </p:txBody>
      </p:sp>
      <p:pic>
        <p:nvPicPr>
          <p:cNvPr id="2" name="Picture 1" descr="Temporary access confirmation page screenshot.">
            <a:extLst>
              <a:ext uri="{FF2B5EF4-FFF2-40B4-BE49-F238E27FC236}">
                <a16:creationId xmlns:a16="http://schemas.microsoft.com/office/drawing/2014/main" id="{9C32004A-DE64-45CC-BF82-D045A9F87F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05222" y="4286224"/>
            <a:ext cx="5416365" cy="227591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B530078-0498-657F-C811-6F5EC75E5D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9143" y="1297667"/>
            <a:ext cx="5297715" cy="2203451"/>
          </a:xfrm>
          <a:prstGeom prst="rect">
            <a:avLst/>
          </a:prstGeom>
        </p:spPr>
      </p:pic>
      <p:pic>
        <p:nvPicPr>
          <p:cNvPr id="8" name="Picture 7" descr="Access code confirmation page screenshot.">
            <a:extLst>
              <a:ext uri="{FF2B5EF4-FFF2-40B4-BE49-F238E27FC236}">
                <a16:creationId xmlns:a16="http://schemas.microsoft.com/office/drawing/2014/main" id="{95F128A1-6FC1-F9F8-4E66-4EEDDEA01505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386" r="190" b="10811"/>
          <a:stretch/>
        </p:blipFill>
        <p:spPr>
          <a:xfrm>
            <a:off x="399386" y="1227366"/>
            <a:ext cx="5297213" cy="2331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6543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7A4557-E113-EA49-4C66-E3BF2F194C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B06417-56DA-4A52-045E-917A1325F3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B0684EB-98D0-F655-3DF4-94179EFFCB3C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203850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5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EC7700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A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 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9BFFDB2-83CE-5FB1-2A55-EB16298CAB0D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AutoNum type="alphaUcPeriod"/>
            </a:pPr>
            <a:r>
              <a:rPr lang="en-US" sz="1700" b="1">
                <a:solidFill>
                  <a:srgbClr val="EC7700"/>
                </a:solidFill>
                <a:latin typeface="Arial"/>
                <a:cs typeface="Arial"/>
              </a:rPr>
              <a:t>Purchase Online:</a:t>
            </a:r>
            <a:r>
              <a:rPr lang="en-US" sz="1700" b="1">
                <a:solidFill>
                  <a:srgbClr val="ED7D31"/>
                </a:solidFill>
                <a:latin typeface="Arial"/>
                <a:cs typeface="Arial"/>
              </a:rPr>
              <a:t> 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On the purchase confirmation page, click </a:t>
            </a:r>
            <a:r>
              <a:rPr lang="en-US" sz="1700" b="1">
                <a:solidFill>
                  <a:srgbClr val="000000"/>
                </a:solidFill>
                <a:latin typeface="Arial"/>
                <a:cs typeface="Arial"/>
              </a:rPr>
              <a:t>Access Now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. </a:t>
            </a:r>
          </a:p>
          <a:p>
            <a:pPr marL="0" indent="0">
              <a:buNone/>
            </a:pPr>
            <a:endParaRPr lang="en-US" sz="1800" b="1" i="1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 b="1" i="1">
              <a:solidFill>
                <a:srgbClr val="000000"/>
              </a:solidFill>
            </a:endParaRPr>
          </a:p>
          <a:p>
            <a:pPr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ongratulations! You have successfully joined your course.</a:t>
            </a:r>
          </a:p>
          <a:p>
            <a:pPr marL="0" indent="0">
              <a:buNone/>
            </a:pPr>
            <a:endParaRPr lang="en-US" sz="1800" b="1" i="1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38B44C2-A3A5-95B0-8371-88FE0DF311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7182" y="1570433"/>
            <a:ext cx="6223001" cy="3324588"/>
          </a:xfrm>
          <a:prstGeom prst="rect">
            <a:avLst/>
          </a:prstGeom>
        </p:spPr>
      </p:pic>
      <p:pic>
        <p:nvPicPr>
          <p:cNvPr id="6" name="Picture 5" descr="Screenshot of post-purchase confirmation page highlighting the &quot;Complete Registration&quot; button.">
            <a:extLst>
              <a:ext uri="{FF2B5EF4-FFF2-40B4-BE49-F238E27FC236}">
                <a16:creationId xmlns:a16="http://schemas.microsoft.com/office/drawing/2014/main" id="{6950EDA0-80DB-E39B-461E-496863E643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3574" y="1565418"/>
            <a:ext cx="6264852" cy="3346161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B1881D4-93DB-78EC-A3CE-B9DD463ED4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477823" y="4308422"/>
            <a:ext cx="768867" cy="400718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6653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>
            <a:extLst>
              <a:ext uri="{FF2B5EF4-FFF2-40B4-BE49-F238E27FC236}">
                <a16:creationId xmlns:a16="http://schemas.microsoft.com/office/drawing/2014/main" id="{478F6DCE-DF72-5F0A-0F94-2CF017928A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2983" y="1605014"/>
            <a:ext cx="4831300" cy="1420574"/>
          </a:xfrm>
        </p:spPr>
        <p:txBody>
          <a:bodyPr>
            <a:normAutofit/>
          </a:bodyPr>
          <a:lstStyle/>
          <a:p>
            <a:r>
              <a:rPr lang="en-US" dirty="0"/>
              <a:t>McGraw Hill GO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55432091-86BF-0D6D-1795-15930B74F30B}"/>
              </a:ext>
            </a:extLst>
          </p:cNvPr>
          <p:cNvSpPr txBox="1">
            <a:spLocks/>
          </p:cNvSpPr>
          <p:nvPr/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tudent Registration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6DEE01A0-A94F-887A-285B-74955E4FCCD3}"/>
              </a:ext>
            </a:extLst>
          </p:cNvPr>
          <p:cNvSpPr txBox="1">
            <a:spLocks/>
          </p:cNvSpPr>
          <p:nvPr/>
        </p:nvSpPr>
        <p:spPr>
          <a:xfrm>
            <a:off x="1208087" y="4122407"/>
            <a:ext cx="4887913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or Canvas with Regular Integration</a:t>
            </a:r>
          </a:p>
        </p:txBody>
      </p:sp>
    </p:spTree>
    <p:extLst>
      <p:ext uri="{BB962C8B-B14F-4D97-AF65-F5344CB8AC3E}">
        <p14:creationId xmlns:p14="http://schemas.microsoft.com/office/powerpoint/2010/main" val="27321662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C0893F-D53C-B732-95E9-8F1B54EA1C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408F0C6-920D-FFAF-32E6-F5AC6116C4EB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759388" y="1111623"/>
            <a:ext cx="2492080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5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49000"/>
                  </a:schemeClr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B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-5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C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E6BDACE-3C95-DBBB-5431-9DD0077E9F93}"/>
              </a:ext>
            </a:extLst>
          </p:cNvPr>
          <p:cNvSpPr txBox="1">
            <a:spLocks/>
          </p:cNvSpPr>
          <p:nvPr/>
        </p:nvSpPr>
        <p:spPr>
          <a:xfrm>
            <a:off x="6755934" y="1575055"/>
            <a:ext cx="4332828" cy="436490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900"/>
              </a:spcAft>
              <a:buNone/>
            </a:pPr>
            <a:r>
              <a:rPr lang="en-US" sz="1800" b="1">
                <a:solidFill>
                  <a:srgbClr val="692146"/>
                </a:solidFill>
                <a:latin typeface="Arial"/>
                <a:cs typeface="Arial"/>
              </a:rPr>
              <a:t>B. Enter Code</a:t>
            </a:r>
            <a:r>
              <a:rPr lang="en-US" sz="1800" b="1">
                <a:solidFill>
                  <a:srgbClr val="7030A0"/>
                </a:solidFill>
                <a:latin typeface="Arial"/>
                <a:cs typeface="Arial"/>
              </a:rPr>
              <a:t>:</a:t>
            </a:r>
            <a:r>
              <a:rPr lang="en-US" sz="1800">
                <a:solidFill>
                  <a:srgbClr val="333333"/>
                </a:solidFill>
                <a:latin typeface="Arial"/>
                <a:cs typeface="Arial"/>
              </a:rPr>
              <a:t> Click </a:t>
            </a:r>
            <a:r>
              <a:rPr lang="en-US" sz="1800" b="1">
                <a:solidFill>
                  <a:srgbClr val="333333"/>
                </a:solidFill>
                <a:latin typeface="Arial"/>
                <a:cs typeface="Arial"/>
              </a:rPr>
              <a:t>Complete Registration</a:t>
            </a:r>
            <a:r>
              <a:rPr lang="en-US" sz="1800">
                <a:solidFill>
                  <a:srgbClr val="333333"/>
                </a:solidFill>
                <a:latin typeface="Arial"/>
                <a:cs typeface="Arial"/>
              </a:rPr>
              <a:t>. That's it- now you can access your first McGraw Hill GO assignment!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spcAft>
                <a:spcPts val="900"/>
              </a:spcAft>
              <a:buNone/>
            </a:pPr>
            <a:endParaRPr lang="en-US" sz="1800">
              <a:solidFill>
                <a:srgbClr val="333333"/>
              </a:solidFill>
              <a:latin typeface="Arial"/>
              <a:cs typeface="Arial"/>
            </a:endParaRPr>
          </a:p>
          <a:p>
            <a:pPr marL="0" indent="0">
              <a:spcAft>
                <a:spcPts val="900"/>
              </a:spcAft>
              <a:buNone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C. Temporary Access: </a:t>
            </a:r>
            <a:r>
              <a:rPr lang="en-US" sz="1800">
                <a:latin typeface="Arial"/>
                <a:cs typeface="Arial"/>
              </a:rPr>
              <a:t>Select </a:t>
            </a:r>
            <a:r>
              <a:rPr lang="en-US" sz="1800" b="1">
                <a:latin typeface="Arial"/>
                <a:cs typeface="Arial"/>
              </a:rPr>
              <a:t>Complete Registration</a:t>
            </a:r>
            <a:r>
              <a:rPr lang="en-US" sz="1800">
                <a:latin typeface="Arial"/>
                <a:cs typeface="Arial"/>
              </a:rPr>
              <a:t> and then you can access your first McGraw Hill GO assignment!</a:t>
            </a:r>
            <a:endParaRPr lang="en-US">
              <a:latin typeface="Arial"/>
              <a:cs typeface="Arial"/>
            </a:endParaRPr>
          </a:p>
          <a:p>
            <a:pPr marL="0" indent="0">
              <a:spcAft>
                <a:spcPts val="900"/>
              </a:spcAft>
              <a:buNone/>
            </a:pPr>
            <a:endParaRPr lang="en-US" sz="1800">
              <a:latin typeface="Arial"/>
              <a:cs typeface="Arial"/>
            </a:endParaRPr>
          </a:p>
          <a:p>
            <a:pPr marL="0" indent="0">
              <a:spcAft>
                <a:spcPts val="900"/>
              </a:spcAft>
              <a:buNone/>
            </a:pPr>
            <a:r>
              <a:rPr lang="en-US" sz="1800" b="1">
                <a:latin typeface="Arial"/>
                <a:cs typeface="Arial"/>
              </a:rPr>
              <a:t>Reminder</a:t>
            </a:r>
            <a:r>
              <a:rPr lang="en-US" sz="1800">
                <a:latin typeface="Arial"/>
                <a:cs typeface="Arial"/>
              </a:rPr>
              <a:t>: if you used Temporary Access, this applies only to GO and not Sharpen. </a:t>
            </a:r>
          </a:p>
        </p:txBody>
      </p:sp>
      <p:pic>
        <p:nvPicPr>
          <p:cNvPr id="2" name="Picture 6">
            <a:extLst>
              <a:ext uri="{FF2B5EF4-FFF2-40B4-BE49-F238E27FC236}">
                <a16:creationId xmlns:a16="http://schemas.microsoft.com/office/drawing/2014/main" id="{66EA6239-8A18-A9EC-8BD4-6714DC1CDF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0461" y="4032310"/>
            <a:ext cx="5154445" cy="2061988"/>
          </a:xfrm>
          <a:prstGeom prst="rect">
            <a:avLst/>
          </a:prstGeom>
        </p:spPr>
      </p:pic>
      <p:grpSp>
        <p:nvGrpSpPr>
          <p:cNvPr id="20" name="Group 19" descr="Screenshot highlighting the Complete Registration button users must click on to join the course.">
            <a:extLst>
              <a:ext uri="{FF2B5EF4-FFF2-40B4-BE49-F238E27FC236}">
                <a16:creationId xmlns:a16="http://schemas.microsoft.com/office/drawing/2014/main" id="{FAFF1D0E-DA86-CB30-7AB3-FC792EA8B5CB}"/>
              </a:ext>
            </a:extLst>
          </p:cNvPr>
          <p:cNvGrpSpPr/>
          <p:nvPr/>
        </p:nvGrpSpPr>
        <p:grpSpPr>
          <a:xfrm>
            <a:off x="1127850" y="3736373"/>
            <a:ext cx="5393952" cy="2371166"/>
            <a:chOff x="132510" y="2305049"/>
            <a:chExt cx="5393952" cy="2371166"/>
          </a:xfrm>
        </p:grpSpPr>
        <p:pic>
          <p:nvPicPr>
            <p:cNvPr id="5" name="Picture 4" descr="A screen shot of a course information&#10;&#10;AI-generated content may be incorrect.">
              <a:extLst>
                <a:ext uri="{FF2B5EF4-FFF2-40B4-BE49-F238E27FC236}">
                  <a16:creationId xmlns:a16="http://schemas.microsoft.com/office/drawing/2014/main" id="{AD5602A5-0F0E-391E-52EF-2E99BB39182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32510" y="2305049"/>
              <a:ext cx="5393952" cy="2371166"/>
            </a:xfrm>
            <a:prstGeom prst="rect">
              <a:avLst/>
            </a:prstGeom>
          </p:spPr>
        </p:pic>
        <p:pic>
          <p:nvPicPr>
            <p:cNvPr id="6" name="Picture 6" descr="A close-up of a course information&#10;&#10;Description automatically generated">
              <a:extLst>
                <a:ext uri="{FF2B5EF4-FFF2-40B4-BE49-F238E27FC236}">
                  <a16:creationId xmlns:a16="http://schemas.microsoft.com/office/drawing/2014/main" id="{F85E73BD-A952-273E-DA44-E0A48E22356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855" t="51852" r="49930" b="30159"/>
            <a:stretch/>
          </p:blipFill>
          <p:spPr>
            <a:xfrm>
              <a:off x="288330" y="3898820"/>
              <a:ext cx="2580900" cy="381017"/>
            </a:xfrm>
            <a:prstGeom prst="rect">
              <a:avLst/>
            </a:prstGeom>
          </p:spPr>
        </p:pic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38B63569-B9C2-30DB-FAA4-C73C27D3918B}"/>
                </a:ext>
              </a:extLst>
            </p:cNvPr>
            <p:cNvSpPr/>
            <p:nvPr/>
          </p:nvSpPr>
          <p:spPr>
            <a:xfrm>
              <a:off x="241614" y="3800087"/>
              <a:ext cx="1405962" cy="440169"/>
            </a:xfrm>
            <a:prstGeom prst="roundRect">
              <a:avLst/>
            </a:prstGeom>
            <a:noFill/>
            <a:ln w="57150">
              <a:solidFill>
                <a:srgbClr val="FFC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5" name="Picture 24" descr="Screenshot highlighting the Complete Registration button users must click on to join the course.">
            <a:extLst>
              <a:ext uri="{FF2B5EF4-FFF2-40B4-BE49-F238E27FC236}">
                <a16:creationId xmlns:a16="http://schemas.microsoft.com/office/drawing/2014/main" id="{A200D20D-C743-E568-7D24-82930C521F9B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3040" b="-307"/>
          <a:stretch/>
        </p:blipFill>
        <p:spPr>
          <a:xfrm>
            <a:off x="177241" y="1052898"/>
            <a:ext cx="6091445" cy="2380982"/>
          </a:xfrm>
          <a:prstGeom prst="rect">
            <a:avLst/>
          </a:prstGeom>
        </p:spPr>
      </p:pic>
      <p:pic>
        <p:nvPicPr>
          <p:cNvPr id="22" name="Picture 6">
            <a:extLst>
              <a:ext uri="{FF2B5EF4-FFF2-40B4-BE49-F238E27FC236}">
                <a16:creationId xmlns:a16="http://schemas.microsoft.com/office/drawing/2014/main" id="{3CD618C7-4F9B-41F4-CB17-06151E5DFA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-204" t="51754" r="73158" b="32012"/>
          <a:stretch/>
        </p:blipFill>
        <p:spPr>
          <a:xfrm>
            <a:off x="419715" y="2589003"/>
            <a:ext cx="1418360" cy="381014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9C1C9DB-B40C-A940-DFFD-C263421590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4906" y="2490270"/>
            <a:ext cx="1405962" cy="481358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62886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70BE71-D6EB-89F5-B33D-904F9B6D03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407952-1E53-F2A7-0BF3-691BEEB2D8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0B88AF4-908A-7B52-7530-E5EF6411D345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203850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6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C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 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CD58469-1507-9A77-6A23-D13F7BA0B53C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C. Temporary Access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When your two-week Temporary Access Expires, you will be directed to the Course Access Page to redeem the GO and Sharpen Companion access code or purchase GO and Sharpen Companion. </a:t>
            </a:r>
            <a:endParaRPr lang="en-US" sz="180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16" name="Picture 15" descr="Screenshot prompting student to get full access to GO. ">
            <a:extLst>
              <a:ext uri="{FF2B5EF4-FFF2-40B4-BE49-F238E27FC236}">
                <a16:creationId xmlns:a16="http://schemas.microsoft.com/office/drawing/2014/main" id="{41B1DF36-BB0B-CAA7-868A-18D7ADEF87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9818" y="1001382"/>
            <a:ext cx="5715000" cy="1830327"/>
          </a:xfrm>
          <a:prstGeom prst="rect">
            <a:avLst/>
          </a:prstGeom>
        </p:spPr>
      </p:pic>
      <p:grpSp>
        <p:nvGrpSpPr>
          <p:cNvPr id="15" name="Group 14" descr="Course Access page screenshot showing the Access Code and Purchase flows a user will see after using their Temporary Access.">
            <a:extLst>
              <a:ext uri="{FF2B5EF4-FFF2-40B4-BE49-F238E27FC236}">
                <a16:creationId xmlns:a16="http://schemas.microsoft.com/office/drawing/2014/main" id="{37D6F988-E7FD-2000-A671-B4D5530BAD1C}"/>
              </a:ext>
            </a:extLst>
          </p:cNvPr>
          <p:cNvGrpSpPr/>
          <p:nvPr/>
        </p:nvGrpSpPr>
        <p:grpSpPr>
          <a:xfrm>
            <a:off x="2321570" y="3303647"/>
            <a:ext cx="4363141" cy="3238503"/>
            <a:chOff x="6096934" y="59375"/>
            <a:chExt cx="9131413" cy="6575139"/>
          </a:xfrm>
        </p:grpSpPr>
        <p:pic>
          <p:nvPicPr>
            <p:cNvPr id="12" name="Picture 11" descr="A screenshot of a web page&#10;&#10;AI-generated content may be incorrect.">
              <a:extLst>
                <a:ext uri="{FF2B5EF4-FFF2-40B4-BE49-F238E27FC236}">
                  <a16:creationId xmlns:a16="http://schemas.microsoft.com/office/drawing/2014/main" id="{7047F0D3-2808-9628-6D23-9EA63AA9EB8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096934" y="59375"/>
              <a:ext cx="9131413" cy="6575139"/>
            </a:xfrm>
            <a:prstGeom prst="rect">
              <a:avLst/>
            </a:prstGeom>
          </p:spPr>
        </p:pic>
        <p:pic>
          <p:nvPicPr>
            <p:cNvPr id="14" name="Picture 13" descr="A screenshot of a computer&#10;&#10;AI-generated content may be incorrect.">
              <a:extLst>
                <a:ext uri="{FF2B5EF4-FFF2-40B4-BE49-F238E27FC236}">
                  <a16:creationId xmlns:a16="http://schemas.microsoft.com/office/drawing/2014/main" id="{0FB0C7AC-5F49-B7AA-5B0F-B9DC4795EDA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3909" t="56260" r="69598" b="7924"/>
            <a:stretch/>
          </p:blipFill>
          <p:spPr>
            <a:xfrm>
              <a:off x="6222767" y="3652158"/>
              <a:ext cx="2863605" cy="27297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559505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3053C7-4288-F227-1F5A-6396310ED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A55F64-CB41-CCCB-C2DD-F291C1E52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12465D0-593D-DE3E-1AB8-51E323DCD14B}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>
                <a:latin typeface="Arial"/>
                <a:cs typeface="Arial"/>
              </a:rPr>
              <a:t>Getting Started with McGraw Hill GO</a:t>
            </a:r>
            <a:r>
              <a:rPr lang="en-US" baseline="30000">
                <a:latin typeface="Arial"/>
                <a:cs typeface="Arial"/>
              </a:rPr>
              <a:t>®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  <a:latin typeface="Arial"/>
                <a:cs typeface="Arial"/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82E217B-A963-9A05-D98F-E91CECEF8C5B}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EB5167-81B5-BB33-AF53-06100933673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arpen Companion Log-In Flow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O: IA and non-IA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562F61E-8815-DAF9-A67A-293E3DA5EC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42" t="13604" b="239"/>
          <a:stretch/>
        </p:blipFill>
        <p:spPr>
          <a:xfrm>
            <a:off x="3884263" y="2927758"/>
            <a:ext cx="4832785" cy="3920799"/>
          </a:xfrm>
          <a:prstGeom prst="rect">
            <a:avLst/>
          </a:prstGeom>
        </p:spPr>
      </p:pic>
      <p:pic>
        <p:nvPicPr>
          <p:cNvPr id="18" name="Picture 17" descr="Sharpen on a computer screen and a mobile phone.">
            <a:extLst>
              <a:ext uri="{FF2B5EF4-FFF2-40B4-BE49-F238E27FC236}">
                <a16:creationId xmlns:a16="http://schemas.microsoft.com/office/drawing/2014/main" id="{C13FE3B2-DAEA-92A9-D36E-8C851A6C25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25131" y="2393001"/>
            <a:ext cx="2585732" cy="2075316"/>
          </a:xfrm>
          <a:prstGeom prst="rect">
            <a:avLst/>
          </a:prstGeom>
        </p:spPr>
      </p:pic>
      <p:grpSp>
        <p:nvGrpSpPr>
          <p:cNvPr id="14" name="Group 13" descr="GO on a computer screen.">
            <a:extLst>
              <a:ext uri="{FF2B5EF4-FFF2-40B4-BE49-F238E27FC236}">
                <a16:creationId xmlns:a16="http://schemas.microsoft.com/office/drawing/2014/main" id="{5DE9C0D9-0E68-5B32-F745-DA78DB67CCBF}"/>
              </a:ext>
            </a:extLst>
          </p:cNvPr>
          <p:cNvGrpSpPr/>
          <p:nvPr/>
        </p:nvGrpSpPr>
        <p:grpSpPr>
          <a:xfrm>
            <a:off x="8122056" y="4559377"/>
            <a:ext cx="2394665" cy="2067145"/>
            <a:chOff x="2661057" y="4201464"/>
            <a:chExt cx="2937302" cy="2401962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4303D7C-4750-8422-E0FE-54220FC145D4}"/>
                </a:ext>
              </a:extLst>
            </p:cNvPr>
            <p:cNvGrpSpPr/>
            <p:nvPr/>
          </p:nvGrpSpPr>
          <p:grpSpPr>
            <a:xfrm>
              <a:off x="2661057" y="4201464"/>
              <a:ext cx="2937302" cy="2401962"/>
              <a:chOff x="-3150430" y="816996"/>
              <a:chExt cx="2937302" cy="2401962"/>
            </a:xfrm>
          </p:grpSpPr>
          <p:pic>
            <p:nvPicPr>
              <p:cNvPr id="11" name="Picture 10" descr="Course with McGraw Hill Connect ...">
                <a:extLst>
                  <a:ext uri="{FF2B5EF4-FFF2-40B4-BE49-F238E27FC236}">
                    <a16:creationId xmlns:a16="http://schemas.microsoft.com/office/drawing/2014/main" id="{3F5CC51C-E329-FA07-8F1F-4B25FB0D619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2975189" y="1058723"/>
                <a:ext cx="2596243" cy="1298121"/>
              </a:xfrm>
              <a:prstGeom prst="rect">
                <a:avLst/>
              </a:prstGeom>
            </p:spPr>
          </p:pic>
          <p:pic>
            <p:nvPicPr>
              <p:cNvPr id="13" name="Picture 2" descr="Mac Icon png download - 1153*945 - Free Transparent Macbook Pro png  Download. - CleanPNG / KissPNG">
                <a:extLst>
                  <a:ext uri="{FF2B5EF4-FFF2-40B4-BE49-F238E27FC236}">
                    <a16:creationId xmlns:a16="http://schemas.microsoft.com/office/drawing/2014/main" id="{7E63BADF-2609-8745-5C82-66C6D8BC582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2568" b="96216" l="1000" r="99667">
                            <a14:foregroundMark x1="1000" y1="6351" x2="1000" y2="6351"/>
                            <a14:foregroundMark x1="3333" y1="4459" x2="13889" y2="3378"/>
                            <a14:foregroundMark x1="13889" y1="3378" x2="14111" y2="3243"/>
                            <a14:foregroundMark x1="65889" y1="3243" x2="78667" y2="3378"/>
                            <a14:foregroundMark x1="97222" y1="3649" x2="98222" y2="6757"/>
                            <a14:foregroundMark x1="83444" y1="71216" x2="90111" y2="72027"/>
                            <a14:foregroundMark x1="61111" y1="75946" x2="73889" y2="76216"/>
                            <a14:foregroundMark x1="46333" y1="77838" x2="57889" y2="78378"/>
                            <a14:foregroundMark x1="10111" y1="71892" x2="76444" y2="80676"/>
                            <a14:foregroundMark x1="76444" y1="80676" x2="90778" y2="79054"/>
                            <a14:foregroundMark x1="3889" y1="4730" x2="1222" y2="30000"/>
                            <a14:foregroundMark x1="26222" y1="3243" x2="60111" y2="2568"/>
                            <a14:foregroundMark x1="96556" y1="6892" x2="99667" y2="48784"/>
                            <a14:foregroundMark x1="99667" y1="48784" x2="97222" y2="70811"/>
                            <a14:foregroundMark x1="83778" y1="71622" x2="61111" y2="72703"/>
                            <a14:foregroundMark x1="3667" y1="70270" x2="29222" y2="73108"/>
                            <a14:foregroundMark x1="29222" y1="73108" x2="66444" y2="71622"/>
                            <a14:foregroundMark x1="1889" y1="77973" x2="20667" y2="77568"/>
                            <a14:foregroundMark x1="2000" y1="41486" x2="3667" y2="48784"/>
                            <a14:foregroundMark x1="2000" y1="29730" x2="2667" y2="70541"/>
                            <a14:foregroundMark x1="18333" y1="3243" x2="26111" y2="3378"/>
                            <a14:foregroundMark x1="48000" y1="87027" x2="54111" y2="86351"/>
                            <a14:foregroundMark x1="43111" y1="86081" x2="51556" y2="95811"/>
                            <a14:foregroundMark x1="51556" y1="95811" x2="56889" y2="96216"/>
                            <a14:foregroundMark x1="96556" y1="79054" x2="96556" y2="79054"/>
                            <a14:foregroundMark x1="94889" y1="77432" x2="95556" y2="80405"/>
                            <a14:foregroundMark x1="66667" y1="83919" x2="83222" y2="84189"/>
                            <a14:foregroundMark x1="83222" y1="84189" x2="98333" y2="82973"/>
                            <a14:foregroundMark x1="98333" y1="82973" x2="99556" y2="74865"/>
                            <a14:foregroundMark x1="99556" y1="74865" x2="90556" y2="73514"/>
                            <a14:foregroundMark x1="90556" y1="73514" x2="71333" y2="79459"/>
                            <a14:foregroundMark x1="71333" y1="79459" x2="66778" y2="83243"/>
                            <a14:backgroundMark x1="13556" y1="11486" x2="14778" y2="18378"/>
                            <a14:backgroundMark x1="14778" y1="18378" x2="40889" y2="21351"/>
                            <a14:backgroundMark x1="40889" y1="21351" x2="78222" y2="49054"/>
                            <a14:backgroundMark x1="93333" y1="94189" x2="80000" y2="89730"/>
                            <a14:backgroundMark x1="29000" y1="92703" x2="8667" y2="93243"/>
                            <a14:backgroundMark x1="64333" y1="89459" x2="71667" y2="92432"/>
                            <a14:backgroundMark x1="71667" y1="92432" x2="73889" y2="98514"/>
                            <a14:backgroundMark x1="65889" y1="97703" x2="61556" y2="90946"/>
                            <a14:backgroundMark x1="61556" y1="90946" x2="69930" y2="86898"/>
                            <a14:backgroundMark x1="93618" y1="86176" x2="99333" y2="94865"/>
                            <a14:backgroundMark x1="99333" y1="94865" x2="99333" y2="982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9"/>
              <a:stretch/>
            </p:blipFill>
            <p:spPr bwMode="auto">
              <a:xfrm>
                <a:off x="-3150430" y="816996"/>
                <a:ext cx="2937302" cy="2401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9" name="Picture 8" descr="McGraw Hill GO">
              <a:extLst>
                <a:ext uri="{FF2B5EF4-FFF2-40B4-BE49-F238E27FC236}">
                  <a16:creationId xmlns:a16="http://schemas.microsoft.com/office/drawing/2014/main" id="{F4F08BEB-7411-BE84-830B-AF30482E69E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830575" y="4458092"/>
              <a:ext cx="2588079" cy="124876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684948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0AF2A2-051E-731E-0D20-B3FFE85A5F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E6494A-2E0E-F69E-7F5F-8FD2753D89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DE00592-1C2A-A58A-E061-E1412DDD818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970951" y="943790"/>
            <a:ext cx="3771151" cy="83099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Logging into Sharpen: Registered Student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3E3DEB1-3400-637A-3285-0216CA8754DD}"/>
              </a:ext>
            </a:extLst>
          </p:cNvPr>
          <p:cNvSpPr txBox="1"/>
          <p:nvPr/>
        </p:nvSpPr>
        <p:spPr>
          <a:xfrm>
            <a:off x="6968031" y="1791980"/>
            <a:ext cx="3942773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Arial"/>
                <a:ea typeface="Calibri"/>
                <a:cs typeface="Calibri"/>
              </a:rPr>
              <a:t>Step 1: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113FF0A-86FB-D04E-2B51-6932F4EFA857}"/>
              </a:ext>
            </a:extLst>
          </p:cNvPr>
          <p:cNvSpPr txBox="1">
            <a:spLocks/>
          </p:cNvSpPr>
          <p:nvPr/>
        </p:nvSpPr>
        <p:spPr>
          <a:xfrm>
            <a:off x="6967497" y="2348023"/>
            <a:ext cx="4752881" cy="364784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>
                <a:latin typeface="Arial"/>
                <a:cs typeface="Arial"/>
              </a:rPr>
              <a:t>Sharpen Launch point</a:t>
            </a:r>
            <a:r>
              <a:rPr lang="en-US" sz="1800">
                <a:latin typeface="Arial"/>
                <a:cs typeface="Arial"/>
              </a:rPr>
              <a:t>: Once you have registered for Sharpen, you will always see the Sharpen launch point at the top of the GO reading screen. Click this to launch Sharpen in a new web window. </a:t>
            </a:r>
            <a:endParaRPr lang="en-US"/>
          </a:p>
          <a:p>
            <a:pPr marL="0" indent="0">
              <a:buNone/>
            </a:pPr>
            <a:endParaRPr lang="en-US"/>
          </a:p>
        </p:txBody>
      </p:sp>
      <p:pic>
        <p:nvPicPr>
          <p:cNvPr id="2" name="Picture 1" descr="Screenshot of GO assignment with Sharpen launch point highlighted. Yellow rectangle highlights the launch point.">
            <a:extLst>
              <a:ext uri="{FF2B5EF4-FFF2-40B4-BE49-F238E27FC236}">
                <a16:creationId xmlns:a16="http://schemas.microsoft.com/office/drawing/2014/main" id="{14594AFD-285D-C7E3-E71B-B5ECF3F747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4030" y="1015999"/>
            <a:ext cx="2909583" cy="297543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32B7568-22EE-B0CD-2DB6-C5C3FAC922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05132" y="1052202"/>
            <a:ext cx="764639" cy="193139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15" name="Picture 14" descr="Sharpen web app that opens after students open Sharpen from GO.">
            <a:extLst>
              <a:ext uri="{FF2B5EF4-FFF2-40B4-BE49-F238E27FC236}">
                <a16:creationId xmlns:a16="http://schemas.microsoft.com/office/drawing/2014/main" id="{DDDEBEC6-0162-C0BC-40CA-C8EB80A1BD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2857" y="4862678"/>
            <a:ext cx="6966856" cy="1704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7976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BDBB3D-08E0-4F77-D05F-727E0D26A5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6EE572-9EC7-1B66-88F3-F2C925BC559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ank you!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9C3C409-5836-B155-D0DA-9EF618E5A3FD}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>
                <a:latin typeface="Arial"/>
                <a:cs typeface="Arial"/>
              </a:rPr>
              <a:t>Getting Started with McGraw Hill </a:t>
            </a:r>
            <a:r>
              <a:rPr lang="en-US">
                <a:solidFill>
                  <a:srgbClr val="FFFFFF"/>
                </a:solidFill>
                <a:latin typeface="Arial"/>
                <a:cs typeface="Arial"/>
              </a:rPr>
              <a:t>GO </a:t>
            </a:r>
            <a:r>
              <a:rPr lang="en-US">
                <a:solidFill>
                  <a:schemeClr val="accent4">
                    <a:lumMod val="75000"/>
                  </a:schemeClr>
                </a:solidFill>
                <a:latin typeface="Arial"/>
                <a:cs typeface="Arial"/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8E89D20-0534-3B8B-5C63-8AD4D1A2904E}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7C413EC-DFE6-8E97-763B-6A458D13D6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42" t="15990" b="239"/>
          <a:stretch/>
        </p:blipFill>
        <p:spPr>
          <a:xfrm>
            <a:off x="3884263" y="2239979"/>
            <a:ext cx="5848785" cy="4620372"/>
          </a:xfrm>
          <a:prstGeom prst="rect">
            <a:avLst/>
          </a:prstGeom>
        </p:spPr>
      </p:pic>
      <p:grpSp>
        <p:nvGrpSpPr>
          <p:cNvPr id="20" name="Group 19" descr="GO product on a computer screen.">
            <a:extLst>
              <a:ext uri="{FF2B5EF4-FFF2-40B4-BE49-F238E27FC236}">
                <a16:creationId xmlns:a16="http://schemas.microsoft.com/office/drawing/2014/main" id="{A77C16B1-670C-3BBD-F1A4-E29A6112C429}"/>
              </a:ext>
            </a:extLst>
          </p:cNvPr>
          <p:cNvGrpSpPr/>
          <p:nvPr/>
        </p:nvGrpSpPr>
        <p:grpSpPr>
          <a:xfrm>
            <a:off x="10038602" y="1061105"/>
            <a:ext cx="1932847" cy="1605327"/>
            <a:chOff x="2661057" y="4201464"/>
            <a:chExt cx="2937302" cy="2401962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1AFA19D-826E-1D12-FFC6-A08F73A51745}"/>
                </a:ext>
              </a:extLst>
            </p:cNvPr>
            <p:cNvGrpSpPr/>
            <p:nvPr/>
          </p:nvGrpSpPr>
          <p:grpSpPr>
            <a:xfrm>
              <a:off x="2661057" y="4201464"/>
              <a:ext cx="2937302" cy="2401962"/>
              <a:chOff x="-3150430" y="816996"/>
              <a:chExt cx="2937302" cy="2401962"/>
            </a:xfrm>
          </p:grpSpPr>
          <p:pic>
            <p:nvPicPr>
              <p:cNvPr id="18" name="Picture 17" descr="Course with McGraw Hill Connect ...">
                <a:extLst>
                  <a:ext uri="{FF2B5EF4-FFF2-40B4-BE49-F238E27FC236}">
                    <a16:creationId xmlns:a16="http://schemas.microsoft.com/office/drawing/2014/main" id="{E4C5C342-C48E-7C43-5FFC-1DF28700DF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2975189" y="1058723"/>
                <a:ext cx="2596243" cy="1298121"/>
              </a:xfrm>
              <a:prstGeom prst="rect">
                <a:avLst/>
              </a:prstGeom>
            </p:spPr>
          </p:pic>
          <p:pic>
            <p:nvPicPr>
              <p:cNvPr id="19" name="Picture 2" descr="Mac Icon png download - 1153*945 - Free Transparent Macbook Pro png  Download. - CleanPNG / KissPNG">
                <a:extLst>
                  <a:ext uri="{FF2B5EF4-FFF2-40B4-BE49-F238E27FC236}">
                    <a16:creationId xmlns:a16="http://schemas.microsoft.com/office/drawing/2014/main" id="{1C38FA7A-6A16-CEA8-ACBA-8EA024225D7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2568" b="96216" l="1000" r="99667">
                            <a14:foregroundMark x1="1000" y1="6351" x2="1000" y2="6351"/>
                            <a14:foregroundMark x1="3333" y1="4459" x2="13889" y2="3378"/>
                            <a14:foregroundMark x1="13889" y1="3378" x2="14111" y2="3243"/>
                            <a14:foregroundMark x1="65889" y1="3243" x2="78667" y2="3378"/>
                            <a14:foregroundMark x1="97222" y1="3649" x2="98222" y2="6757"/>
                            <a14:foregroundMark x1="83444" y1="71216" x2="90111" y2="72027"/>
                            <a14:foregroundMark x1="61111" y1="75946" x2="73889" y2="76216"/>
                            <a14:foregroundMark x1="46333" y1="77838" x2="57889" y2="78378"/>
                            <a14:foregroundMark x1="10111" y1="71892" x2="76444" y2="80676"/>
                            <a14:foregroundMark x1="76444" y1="80676" x2="90778" y2="79054"/>
                            <a14:foregroundMark x1="3889" y1="4730" x2="1222" y2="30000"/>
                            <a14:foregroundMark x1="26222" y1="3243" x2="60111" y2="2568"/>
                            <a14:foregroundMark x1="96556" y1="6892" x2="99667" y2="48784"/>
                            <a14:foregroundMark x1="99667" y1="48784" x2="97222" y2="70811"/>
                            <a14:foregroundMark x1="83778" y1="71622" x2="61111" y2="72703"/>
                            <a14:foregroundMark x1="3667" y1="70270" x2="29222" y2="73108"/>
                            <a14:foregroundMark x1="29222" y1="73108" x2="66444" y2="71622"/>
                            <a14:foregroundMark x1="1889" y1="77973" x2="20667" y2="77568"/>
                            <a14:foregroundMark x1="2000" y1="41486" x2="3667" y2="48784"/>
                            <a14:foregroundMark x1="2000" y1="29730" x2="2667" y2="70541"/>
                            <a14:foregroundMark x1="18333" y1="3243" x2="26111" y2="3378"/>
                            <a14:foregroundMark x1="48000" y1="87027" x2="54111" y2="86351"/>
                            <a14:foregroundMark x1="43111" y1="86081" x2="51556" y2="95811"/>
                            <a14:foregroundMark x1="51556" y1="95811" x2="56889" y2="96216"/>
                            <a14:foregroundMark x1="96556" y1="79054" x2="96556" y2="79054"/>
                            <a14:foregroundMark x1="94889" y1="77432" x2="95556" y2="80405"/>
                            <a14:foregroundMark x1="66667" y1="83919" x2="83222" y2="84189"/>
                            <a14:foregroundMark x1="83222" y1="84189" x2="98333" y2="82973"/>
                            <a14:foregroundMark x1="98333" y1="82973" x2="99556" y2="74865"/>
                            <a14:foregroundMark x1="99556" y1="74865" x2="90556" y2="73514"/>
                            <a14:foregroundMark x1="90556" y1="73514" x2="71333" y2="79459"/>
                            <a14:foregroundMark x1="71333" y1="79459" x2="66778" y2="83243"/>
                            <a14:backgroundMark x1="13556" y1="11486" x2="14778" y2="18378"/>
                            <a14:backgroundMark x1="14778" y1="18378" x2="40889" y2="21351"/>
                            <a14:backgroundMark x1="40889" y1="21351" x2="78222" y2="49054"/>
                            <a14:backgroundMark x1="93333" y1="94189" x2="80000" y2="89730"/>
                            <a14:backgroundMark x1="29000" y1="92703" x2="8667" y2="93243"/>
                            <a14:backgroundMark x1="64333" y1="89459" x2="71667" y2="92432"/>
                            <a14:backgroundMark x1="71667" y1="92432" x2="73889" y2="98514"/>
                            <a14:backgroundMark x1="65889" y1="97703" x2="61556" y2="90946"/>
                            <a14:backgroundMark x1="61556" y1="90946" x2="69930" y2="86898"/>
                            <a14:backgroundMark x1="93618" y1="86176" x2="99333" y2="94865"/>
                            <a14:backgroundMark x1="99333" y1="94865" x2="99333" y2="982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9"/>
              <a:stretch/>
            </p:blipFill>
            <p:spPr bwMode="auto">
              <a:xfrm>
                <a:off x="-3150430" y="816996"/>
                <a:ext cx="2937302" cy="2401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7" name="Picture 16" descr="McGraw Hill GO">
              <a:extLst>
                <a:ext uri="{FF2B5EF4-FFF2-40B4-BE49-F238E27FC236}">
                  <a16:creationId xmlns:a16="http://schemas.microsoft.com/office/drawing/2014/main" id="{9BFFF1C9-C306-E931-1AFB-10316B9AD2D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830575" y="4458092"/>
              <a:ext cx="2588079" cy="1248763"/>
            </a:xfrm>
            <a:prstGeom prst="rect">
              <a:avLst/>
            </a:prstGeom>
          </p:spPr>
        </p:pic>
      </p:grpSp>
      <p:pic>
        <p:nvPicPr>
          <p:cNvPr id="14" name="Picture 13" descr="Sharpen on a computer screen and a mobile phone.">
            <a:extLst>
              <a:ext uri="{FF2B5EF4-FFF2-40B4-BE49-F238E27FC236}">
                <a16:creationId xmlns:a16="http://schemas.microsoft.com/office/drawing/2014/main" id="{A296A8E8-78EB-8F12-DA69-3DB75E69C93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25131" y="3120364"/>
            <a:ext cx="2077732" cy="1625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2047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73A9DF-2010-0D1C-0779-F4DBC4C7C7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8">
            <a:extLst>
              <a:ext uri="{FF2B5EF4-FFF2-40B4-BE49-F238E27FC236}">
                <a16:creationId xmlns:a16="http://schemas.microsoft.com/office/drawing/2014/main" id="{194A9891-A9FE-D631-C933-1462985B967C}"/>
              </a:ext>
            </a:extLst>
          </p:cNvPr>
          <p:cNvSpPr txBox="1"/>
          <p:nvPr/>
        </p:nvSpPr>
        <p:spPr>
          <a:xfrm>
            <a:off x="7340363" y="5316582"/>
            <a:ext cx="3169283" cy="138499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pPr algn="l" fontAlgn="auto">
              <a:buNone/>
            </a:pPr>
            <a:r>
              <a:rPr lang="en-US" sz="1400" b="0" i="0">
                <a:solidFill>
                  <a:schemeClr val="bg2">
                    <a:lumMod val="10000"/>
                  </a:schemeClr>
                </a:solidFill>
                <a:effectLst/>
                <a:latin typeface="Proxima Nova" panose="02000506030000020004" pitchFamily="50" charset="0"/>
              </a:rPr>
              <a:t>College study app for exam prep that goes with our textbook and McGraw Hill GO, offering flashcards, quizzes, videos, and tools to stay on track.</a:t>
            </a:r>
          </a:p>
          <a:p>
            <a:pPr>
              <a:buNone/>
            </a:pPr>
            <a:br>
              <a:rPr lang="en-US" sz="1400">
                <a:solidFill>
                  <a:schemeClr val="bg2">
                    <a:lumMod val="10000"/>
                  </a:schemeClr>
                </a:solidFill>
                <a:latin typeface="Proxima Nova" panose="02000506030000020004" pitchFamily="50" charset="0"/>
              </a:rPr>
            </a:br>
            <a:endParaRPr lang="en-US" sz="1400">
              <a:solidFill>
                <a:schemeClr val="bg2">
                  <a:lumMod val="10000"/>
                </a:schemeClr>
              </a:solidFill>
              <a:latin typeface="Proxima Nova" panose="02000506030000020004" pitchFamily="50" charset="0"/>
            </a:endParaRPr>
          </a:p>
        </p:txBody>
      </p:sp>
      <p:pic>
        <p:nvPicPr>
          <p:cNvPr id="17" name="Picture 16" descr="Sharpen logo. &#10;">
            <a:extLst>
              <a:ext uri="{FF2B5EF4-FFF2-40B4-BE49-F238E27FC236}">
                <a16:creationId xmlns:a16="http://schemas.microsoft.com/office/drawing/2014/main" id="{737A586C-FC86-0355-2DD4-98C643937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0363" y="4904713"/>
            <a:ext cx="1397609" cy="350595"/>
          </a:xfrm>
          <a:prstGeom prst="rect">
            <a:avLst/>
          </a:prstGeom>
        </p:spPr>
      </p:pic>
      <p:sp>
        <p:nvSpPr>
          <p:cNvPr id="15" name="TextBox 5">
            <a:extLst>
              <a:ext uri="{FF2B5EF4-FFF2-40B4-BE49-F238E27FC236}">
                <a16:creationId xmlns:a16="http://schemas.microsoft.com/office/drawing/2014/main" id="{F65D68D0-633F-478B-E06C-655ED68CC04C}"/>
              </a:ext>
            </a:extLst>
          </p:cNvPr>
          <p:cNvSpPr txBox="1"/>
          <p:nvPr/>
        </p:nvSpPr>
        <p:spPr>
          <a:xfrm>
            <a:off x="7966741" y="2505670"/>
            <a:ext cx="2288703" cy="184665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CA" b="1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Quiz While You Read</a:t>
            </a:r>
          </a:p>
          <a:p>
            <a:endParaRPr lang="en-CA" sz="800" b="1">
              <a:solidFill>
                <a:schemeClr val="tx1">
                  <a:lumMod val="50000"/>
                </a:schemeClr>
              </a:solidFill>
              <a:effectLst/>
              <a:latin typeface="Proxima Nova" panose="0200050603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CA" sz="140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Check your understanding and</a:t>
            </a:r>
            <a:r>
              <a:rPr lang="en-CA" sz="1400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 flip from readings to assessments to gauge your grasp of the concepts covered.</a:t>
            </a:r>
            <a:endParaRPr lang="en-US" sz="1400">
              <a:solidFill>
                <a:schemeClr val="tx1">
                  <a:lumMod val="50000"/>
                </a:schemeClr>
              </a:solidFill>
              <a:latin typeface="Proxima Nova" panose="02000506030000020004" pitchFamily="50" charset="0"/>
            </a:endParaRPr>
          </a:p>
        </p:txBody>
      </p:sp>
      <p:pic>
        <p:nvPicPr>
          <p:cNvPr id="16" name="Graphic 6" descr="Checklist outline">
            <a:extLst>
              <a:ext uri="{FF2B5EF4-FFF2-40B4-BE49-F238E27FC236}">
                <a16:creationId xmlns:a16="http://schemas.microsoft.com/office/drawing/2014/main" id="{2901980D-679C-C57F-7579-C2940BAA2C1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24769" y="2476609"/>
            <a:ext cx="914400" cy="914400"/>
          </a:xfrm>
          <a:prstGeom prst="rect">
            <a:avLst/>
          </a:prstGeom>
        </p:spPr>
      </p:pic>
      <p:sp>
        <p:nvSpPr>
          <p:cNvPr id="12" name="TextBox 2">
            <a:extLst>
              <a:ext uri="{FF2B5EF4-FFF2-40B4-BE49-F238E27FC236}">
                <a16:creationId xmlns:a16="http://schemas.microsoft.com/office/drawing/2014/main" id="{65E36ACA-E51D-FC04-26EC-403B27C19247}"/>
              </a:ext>
            </a:extLst>
          </p:cNvPr>
          <p:cNvSpPr txBox="1"/>
          <p:nvPr/>
        </p:nvSpPr>
        <p:spPr>
          <a:xfrm>
            <a:off x="4083905" y="4942164"/>
            <a:ext cx="2568966" cy="156966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CA" b="1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On-the-GO Access</a:t>
            </a:r>
          </a:p>
          <a:p>
            <a:endParaRPr lang="en-CA" sz="800" b="1">
              <a:solidFill>
                <a:schemeClr val="tx1">
                  <a:lumMod val="50000"/>
                </a:schemeClr>
              </a:solidFill>
              <a:effectLst/>
              <a:latin typeface="Proxima Nova" panose="0200050603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CA" sz="1400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Access your McGraw Hill GO eBook on mobile devices through the free </a:t>
            </a:r>
            <a:r>
              <a:rPr lang="en-CA" sz="1400" b="1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ReadAnywhere app </a:t>
            </a:r>
            <a:r>
              <a:rPr lang="en-CA" sz="1400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(must activate GO first). </a:t>
            </a:r>
            <a:endParaRPr lang="en-US" sz="1400">
              <a:solidFill>
                <a:schemeClr val="tx1">
                  <a:lumMod val="50000"/>
                </a:schemeClr>
              </a:solidFill>
              <a:latin typeface="Proxima Nova" panose="02000506030000020004" pitchFamily="50" charset="0"/>
            </a:endParaRPr>
          </a:p>
        </p:txBody>
      </p:sp>
      <p:pic>
        <p:nvPicPr>
          <p:cNvPr id="13" name="Picture 12" descr="A logo of a computer">
            <a:extLst>
              <a:ext uri="{FF2B5EF4-FFF2-40B4-BE49-F238E27FC236}">
                <a16:creationId xmlns:a16="http://schemas.microsoft.com/office/drawing/2014/main" id="{A4E0CF43-3E92-C35B-AE46-492387AA19E5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91415" y="4942164"/>
            <a:ext cx="645644" cy="622381"/>
          </a:xfrm>
          <a:prstGeom prst="rect">
            <a:avLst/>
          </a:prstGeom>
        </p:spPr>
      </p:pic>
      <p:sp>
        <p:nvSpPr>
          <p:cNvPr id="11" name="TextBox 1">
            <a:extLst>
              <a:ext uri="{FF2B5EF4-FFF2-40B4-BE49-F238E27FC236}">
                <a16:creationId xmlns:a16="http://schemas.microsoft.com/office/drawing/2014/main" id="{4A031514-1A38-CFAD-B514-B965E7D0F3C9}"/>
              </a:ext>
            </a:extLst>
          </p:cNvPr>
          <p:cNvSpPr txBox="1"/>
          <p:nvPr/>
        </p:nvSpPr>
        <p:spPr>
          <a:xfrm>
            <a:off x="4083905" y="2505671"/>
            <a:ext cx="2568966" cy="184665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US" b="1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Actively Read </a:t>
            </a:r>
            <a:r>
              <a:rPr lang="en-US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using the </a:t>
            </a:r>
            <a:r>
              <a:rPr lang="en-US" b="1" u="sng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AI Reader</a:t>
            </a:r>
          </a:p>
          <a:p>
            <a:endParaRPr lang="en-US" sz="800" b="1" u="sng">
              <a:solidFill>
                <a:schemeClr val="tx1">
                  <a:lumMod val="50000"/>
                </a:schemeClr>
              </a:solidFill>
              <a:latin typeface="Proxima Nova" panose="02000506030000020004" pitchFamily="50" charset="0"/>
            </a:endParaRPr>
          </a:p>
          <a:p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Leverage the power of our </a:t>
            </a:r>
            <a:r>
              <a:rPr lang="en-US" sz="1400" b="1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gen AI tool embedded in the ebook </a:t>
            </a: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to expand your understanding and boost your curiosity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002284E-5D84-387E-BD99-B5D36B5600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268" t="7406" r="11943" b="6060"/>
          <a:stretch/>
        </p:blipFill>
        <p:spPr>
          <a:xfrm>
            <a:off x="3319238" y="2574035"/>
            <a:ext cx="617821" cy="5976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glow rad="101600">
              <a:schemeClr val="accent5">
                <a:satMod val="175000"/>
                <a:alpha val="40000"/>
              </a:schemeClr>
            </a:glow>
            <a:reflection blurRad="12700" stA="38000" endPos="28000" dist="5000" dir="5400000" sy="-100000" algn="bl" rotWithShape="0"/>
          </a:effectLst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E13E2C1-047A-07ED-3079-56F16BD7A0B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34573" y="1726816"/>
            <a:ext cx="8277164" cy="827655"/>
          </a:xfrm>
        </p:spPr>
        <p:txBody>
          <a:bodyPr/>
          <a:lstStyle/>
          <a:p>
            <a:r>
              <a:rPr lang="en-US" b="1" dirty="0">
                <a:solidFill>
                  <a:schemeClr val="bg2">
                    <a:lumMod val="10000"/>
                  </a:schemeClr>
                </a:solidFill>
                <a:latin typeface="Proxima Nova" panose="02000506030000020004" pitchFamily="50" charset="0"/>
              </a:rPr>
              <a:t>McGraw Hill GO is an eBook+ 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  <a:latin typeface="Proxima Nova" panose="02000506030000020004" pitchFamily="50" charset="0"/>
              </a:rPr>
              <a:t>embedded directly in your LMS course – no additional logins or access required</a:t>
            </a:r>
          </a:p>
          <a:p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BBFBC29-1E2D-D7C9-3965-780E6414B3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573" y="1084310"/>
            <a:ext cx="5422996" cy="748230"/>
          </a:xfrm>
        </p:spPr>
        <p:txBody>
          <a:bodyPr/>
          <a:lstStyle/>
          <a:p>
            <a:r>
              <a:rPr lang="en-US" dirty="0"/>
              <a:t>What is McGraw Hill GO?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B4C75BC-FC16-E2DC-FCF1-780F75E9F884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7" y="190253"/>
            <a:ext cx="4906113" cy="365125"/>
          </a:xfrm>
        </p:spPr>
        <p:txBody>
          <a:bodyPr/>
          <a:lstStyle/>
          <a:p>
            <a:r>
              <a:rPr lang="en-US" dirty="0"/>
              <a:t>Canvas with Regular Integration</a:t>
            </a:r>
          </a:p>
        </p:txBody>
      </p:sp>
    </p:spTree>
    <p:extLst>
      <p:ext uri="{BB962C8B-B14F-4D97-AF65-F5344CB8AC3E}">
        <p14:creationId xmlns:p14="http://schemas.microsoft.com/office/powerpoint/2010/main" val="31375501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689AD-3D61-36EA-2948-6B112DE424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1</a:t>
            </a:r>
          </a:p>
        </p:txBody>
      </p:sp>
      <p:pic>
        <p:nvPicPr>
          <p:cNvPr id="4" name="Picture 3" descr="Student in computer lab typing on laptop.">
            <a:extLst>
              <a:ext uri="{FF2B5EF4-FFF2-40B4-BE49-F238E27FC236}">
                <a16:creationId xmlns:a16="http://schemas.microsoft.com/office/drawing/2014/main" id="{AF3AFC82-7C61-DC66-C643-548367B3DB8F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750407" y="1776412"/>
            <a:ext cx="3305175" cy="330517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A45F9B9-E32E-C37A-7B68-4ED6AC21FF2D}"/>
              </a:ext>
            </a:extLst>
          </p:cNvPr>
          <p:cNvSpPr txBox="1"/>
          <p:nvPr/>
        </p:nvSpPr>
        <p:spPr>
          <a:xfrm>
            <a:off x="4517712" y="1857543"/>
            <a:ext cx="69238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  <a:cs typeface="Calibri"/>
              </a:rPr>
              <a:t>To access McGraw Hill GO, select a GO assignment in the Content area of your Blackboard course.</a:t>
            </a:r>
            <a:endParaRPr lang="en-US" dirty="0">
              <a:solidFill>
                <a:schemeClr val="tx1">
                  <a:lumMod val="50000"/>
                </a:schemeClr>
              </a:solidFill>
              <a:latin typeface="Proxima Nova" panose="02000506030000020004" pitchFamily="50" charset="0"/>
            </a:endParaRPr>
          </a:p>
        </p:txBody>
      </p:sp>
      <p:pic>
        <p:nvPicPr>
          <p:cNvPr id="6" name="Picture 5" descr="A screenshot of a computer">
            <a:extLst>
              <a:ext uri="{FF2B5EF4-FFF2-40B4-BE49-F238E27FC236}">
                <a16:creationId xmlns:a16="http://schemas.microsoft.com/office/drawing/2014/main" id="{B8A4E1FA-7581-A5F1-A7B8-C5CBCD67686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30203"/>
          <a:stretch/>
        </p:blipFill>
        <p:spPr>
          <a:xfrm>
            <a:off x="5105401" y="3085084"/>
            <a:ext cx="5238750" cy="24725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E3774730-2F6E-5B25-3B6E-93F9650EAA00}"/>
              </a:ext>
            </a:extLst>
          </p:cNvPr>
          <p:cNvSpPr txBox="1">
            <a:spLocks/>
          </p:cNvSpPr>
          <p:nvPr/>
        </p:nvSpPr>
        <p:spPr>
          <a:xfrm>
            <a:off x="750407" y="190253"/>
            <a:ext cx="490611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Canvas with Regular Integration</a:t>
            </a:r>
          </a:p>
        </p:txBody>
      </p:sp>
    </p:spTree>
    <p:extLst>
      <p:ext uri="{BB962C8B-B14F-4D97-AF65-F5344CB8AC3E}">
        <p14:creationId xmlns:p14="http://schemas.microsoft.com/office/powerpoint/2010/main" val="8087859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C81779-ED6B-C1F6-67BC-417EE87BE8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EF012F-23DA-E89E-87E8-98AB82EE80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2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F91D6B3-F334-BF8B-2D50-7214895F8693}"/>
              </a:ext>
            </a:extLst>
          </p:cNvPr>
          <p:cNvSpPr txBox="1"/>
          <p:nvPr/>
        </p:nvSpPr>
        <p:spPr>
          <a:xfrm>
            <a:off x="7006856" y="1447371"/>
            <a:ext cx="4590386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dirty="0">
                <a:latin typeface="Proxima Nova" panose="02000506030000020004" pitchFamily="50" charset="0"/>
                <a:cs typeface="Arial"/>
              </a:rPr>
              <a:t>The first time you launch a GO assignment, you will see three access options:</a:t>
            </a:r>
          </a:p>
          <a:p>
            <a:pPr marL="342900" indent="-342900">
              <a:spcAft>
                <a:spcPts val="900"/>
              </a:spcAft>
              <a:buAutoNum type="arabicPeriod"/>
            </a:pPr>
            <a:r>
              <a:rPr lang="en-US" b="1" dirty="0">
                <a:latin typeface="Proxima Nova" panose="02000506030000020004" pitchFamily="50" charset="0"/>
                <a:cs typeface="Arial"/>
              </a:rPr>
              <a:t>McGraw Hill GO Code:</a:t>
            </a:r>
            <a:r>
              <a:rPr lang="en-US" dirty="0">
                <a:latin typeface="Proxima Nova" panose="02000506030000020004" pitchFamily="50" charset="0"/>
                <a:cs typeface="Arial"/>
              </a:rPr>
              <a:t> Enter a McGraw Hill GO access code and click </a:t>
            </a:r>
            <a:r>
              <a:rPr lang="en-US" b="1" dirty="0">
                <a:latin typeface="Proxima Nova" panose="02000506030000020004" pitchFamily="50" charset="0"/>
                <a:cs typeface="Arial"/>
              </a:rPr>
              <a:t>Redeem.</a:t>
            </a:r>
          </a:p>
          <a:p>
            <a:pPr marL="342900" indent="-342900">
              <a:spcAft>
                <a:spcPts val="900"/>
              </a:spcAft>
              <a:buAutoNum type="arabicPeriod"/>
            </a:pPr>
            <a:r>
              <a:rPr lang="en-US" b="1" dirty="0">
                <a:latin typeface="Proxima Nova" panose="02000506030000020004" pitchFamily="50" charset="0"/>
                <a:cs typeface="Arial"/>
              </a:rPr>
              <a:t>Purchase Online:</a:t>
            </a:r>
            <a:r>
              <a:rPr lang="en-US" dirty="0">
                <a:latin typeface="Proxima Nova" panose="02000506030000020004" pitchFamily="50" charset="0"/>
                <a:cs typeface="Arial"/>
              </a:rPr>
              <a:t> Click </a:t>
            </a:r>
            <a:r>
              <a:rPr lang="en-US" b="1" dirty="0">
                <a:latin typeface="Proxima Nova" panose="02000506030000020004" pitchFamily="50" charset="0"/>
                <a:cs typeface="Arial"/>
              </a:rPr>
              <a:t>Purchase</a:t>
            </a:r>
            <a:r>
              <a:rPr lang="en-US" dirty="0">
                <a:latin typeface="Proxima Nova" panose="02000506030000020004" pitchFamily="50" charset="0"/>
                <a:cs typeface="Arial"/>
              </a:rPr>
              <a:t> to use a credit card or PayPal.</a:t>
            </a:r>
          </a:p>
          <a:p>
            <a:pPr marL="342900" indent="-342900">
              <a:spcAft>
                <a:spcPts val="900"/>
              </a:spcAft>
              <a:buAutoNum type="arabicPeriod"/>
            </a:pPr>
            <a:r>
              <a:rPr lang="en-US" b="1" dirty="0">
                <a:latin typeface="Proxima Nova" panose="02000506030000020004" pitchFamily="50" charset="0"/>
                <a:cs typeface="Arial"/>
              </a:rPr>
              <a:t>Temporary Access:</a:t>
            </a:r>
            <a:r>
              <a:rPr lang="en-US" dirty="0">
                <a:latin typeface="Proxima Nova" panose="02000506030000020004" pitchFamily="50" charset="0"/>
                <a:cs typeface="Arial"/>
              </a:rPr>
              <a:t> Click </a:t>
            </a:r>
            <a:r>
              <a:rPr lang="en-US" b="1" dirty="0">
                <a:latin typeface="Proxima Nova" panose="02000506030000020004" pitchFamily="50" charset="0"/>
                <a:cs typeface="Arial"/>
              </a:rPr>
              <a:t>Access now</a:t>
            </a:r>
            <a:r>
              <a:rPr lang="en-US" dirty="0">
                <a:latin typeface="Proxima Nova" panose="02000506030000020004" pitchFamily="50" charset="0"/>
                <a:cs typeface="Arial"/>
              </a:rPr>
              <a:t> for 14 days of temporary access.</a:t>
            </a:r>
          </a:p>
          <a:p>
            <a:endParaRPr lang="en-US" dirty="0"/>
          </a:p>
        </p:txBody>
      </p:sp>
      <p:pic>
        <p:nvPicPr>
          <p:cNvPr id="4" name="Picture 5" descr="A screenshot of a computer">
            <a:extLst>
              <a:ext uri="{FF2B5EF4-FFF2-40B4-BE49-F238E27FC236}">
                <a16:creationId xmlns:a16="http://schemas.microsoft.com/office/drawing/2014/main" id="{EB3E5DB9-2F18-468D-E22E-6145765B77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672" y="1447371"/>
            <a:ext cx="5877790" cy="4640199"/>
          </a:xfrm>
          <a:prstGeom prst="rect">
            <a:avLst/>
          </a:prstGeom>
        </p:spPr>
      </p:pic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5E5AC4D5-2324-7D26-3582-DB162509472B}"/>
              </a:ext>
            </a:extLst>
          </p:cNvPr>
          <p:cNvSpPr txBox="1">
            <a:spLocks/>
          </p:cNvSpPr>
          <p:nvPr/>
        </p:nvSpPr>
        <p:spPr>
          <a:xfrm>
            <a:off x="750407" y="190253"/>
            <a:ext cx="490611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Canvas with Regular Integration</a:t>
            </a:r>
          </a:p>
        </p:txBody>
      </p:sp>
    </p:spTree>
    <p:extLst>
      <p:ext uri="{BB962C8B-B14F-4D97-AF65-F5344CB8AC3E}">
        <p14:creationId xmlns:p14="http://schemas.microsoft.com/office/powerpoint/2010/main" val="3623065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66140C-3D9B-35D8-5A39-128A961194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83A130-29C2-E441-1428-7557D25C17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3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21BAABA9-7BBE-47C0-31E6-39608C1D76B7}"/>
              </a:ext>
            </a:extLst>
          </p:cNvPr>
          <p:cNvSpPr txBox="1">
            <a:spLocks/>
          </p:cNvSpPr>
          <p:nvPr/>
        </p:nvSpPr>
        <p:spPr>
          <a:xfrm>
            <a:off x="682672" y="1736496"/>
            <a:ext cx="10826656" cy="437409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900"/>
              </a:spcAft>
            </a:pPr>
            <a:r>
              <a:rPr lang="en-US" dirty="0">
                <a:latin typeface="Proxima Nova" panose="02000506030000020004" pitchFamily="50" charset="0"/>
                <a:cs typeface="Arial"/>
              </a:rPr>
              <a:t>After completing the steps for your selected access method, "confirm" your McGraw Hill GO access.</a:t>
            </a:r>
            <a:endParaRPr lang="en-US" dirty="0">
              <a:latin typeface="Proxima Nova" panose="02000506030000020004" pitchFamily="50" charset="0"/>
            </a:endParaRPr>
          </a:p>
        </p:txBody>
      </p:sp>
      <p:pic>
        <p:nvPicPr>
          <p:cNvPr id="5" name="Picture 6" descr="A close-up of a course information">
            <a:extLst>
              <a:ext uri="{FF2B5EF4-FFF2-40B4-BE49-F238E27FC236}">
                <a16:creationId xmlns:a16="http://schemas.microsoft.com/office/drawing/2014/main" id="{E654E2B5-00A0-E68E-3615-8C9CD0E130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26377" y="2901485"/>
            <a:ext cx="5739245" cy="2285376"/>
          </a:xfrm>
          <a:prstGeom prst="rect">
            <a:avLst/>
          </a:prstGeom>
        </p:spPr>
      </p:pic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B4A918A6-5FE0-D8EC-C0CA-ED01C9BA05BF}"/>
              </a:ext>
            </a:extLst>
          </p:cNvPr>
          <p:cNvSpPr txBox="1">
            <a:spLocks/>
          </p:cNvSpPr>
          <p:nvPr/>
        </p:nvSpPr>
        <p:spPr>
          <a:xfrm>
            <a:off x="750407" y="190253"/>
            <a:ext cx="490611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Canvas with Regular Integration</a:t>
            </a:r>
          </a:p>
        </p:txBody>
      </p:sp>
    </p:spTree>
    <p:extLst>
      <p:ext uri="{BB962C8B-B14F-4D97-AF65-F5344CB8AC3E}">
        <p14:creationId xmlns:p14="http://schemas.microsoft.com/office/powerpoint/2010/main" val="35912558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79E7C4-3776-7E45-0132-1F4CB8DED2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30D99D-2C1B-FDCE-788D-C0A7FF819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4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084FAEE-FF49-B11E-3E7A-7B4B3400ECD7}"/>
              </a:ext>
            </a:extLst>
          </p:cNvPr>
          <p:cNvSpPr txBox="1">
            <a:spLocks/>
          </p:cNvSpPr>
          <p:nvPr/>
        </p:nvSpPr>
        <p:spPr>
          <a:xfrm>
            <a:off x="682671" y="1780549"/>
            <a:ext cx="10609105" cy="437356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900"/>
              </a:spcAft>
            </a:pPr>
            <a:r>
              <a:rPr lang="en-US" dirty="0">
                <a:latin typeface="Proxima Nova" panose="02000506030000020004" pitchFamily="50" charset="0"/>
                <a:cs typeface="Arial"/>
              </a:rPr>
              <a:t>Select Complete Registration and then you can access your first McGraw Hill GO assignment!</a:t>
            </a:r>
            <a:endParaRPr lang="en-US" dirty="0">
              <a:latin typeface="Proxima Nova" panose="02000506030000020004" pitchFamily="50" charset="0"/>
            </a:endParaRPr>
          </a:p>
        </p:txBody>
      </p:sp>
      <p:pic>
        <p:nvPicPr>
          <p:cNvPr id="4" name="Picture 6" descr="A close-up of a course information">
            <a:extLst>
              <a:ext uri="{FF2B5EF4-FFF2-40B4-BE49-F238E27FC236}">
                <a16:creationId xmlns:a16="http://schemas.microsoft.com/office/drawing/2014/main" id="{1841F5AC-D1DF-0A22-4553-CC8EEF5701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05906" y="2764201"/>
            <a:ext cx="5869131" cy="2406257"/>
          </a:xfrm>
          <a:prstGeom prst="rect">
            <a:avLst/>
          </a:prstGeom>
        </p:spPr>
      </p:pic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27CA23BD-69A8-4C3F-668F-BD029744FCC7}"/>
              </a:ext>
            </a:extLst>
          </p:cNvPr>
          <p:cNvSpPr txBox="1">
            <a:spLocks/>
          </p:cNvSpPr>
          <p:nvPr/>
        </p:nvSpPr>
        <p:spPr>
          <a:xfrm>
            <a:off x="750407" y="190253"/>
            <a:ext cx="490611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Canvas with Regular Integration</a:t>
            </a:r>
          </a:p>
        </p:txBody>
      </p:sp>
    </p:spTree>
    <p:extLst>
      <p:ext uri="{BB962C8B-B14F-4D97-AF65-F5344CB8AC3E}">
        <p14:creationId xmlns:p14="http://schemas.microsoft.com/office/powerpoint/2010/main" val="3638442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A813C9-3AD3-29F5-48C7-E65638387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9080" y="1718704"/>
            <a:ext cx="4831300" cy="1420574"/>
          </a:xfrm>
        </p:spPr>
        <p:txBody>
          <a:bodyPr>
            <a:normAutofit/>
          </a:bodyPr>
          <a:lstStyle/>
          <a:p>
            <a:r>
              <a:rPr lang="en-US">
                <a:latin typeface="Arial"/>
                <a:cs typeface="Arial"/>
              </a:rPr>
              <a:t>Getting Started with McGraw Hill GO</a:t>
            </a:r>
            <a:r>
              <a:rPr lang="en-US" sz="2100" baseline="30000">
                <a:latin typeface="Arial"/>
                <a:cs typeface="Arial"/>
              </a:rPr>
              <a:t>® </a:t>
            </a:r>
            <a:br>
              <a:rPr lang="en-US" sz="2100" baseline="30000">
                <a:latin typeface="Arial"/>
                <a:cs typeface="Arial"/>
              </a:rPr>
            </a:b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r>
              <a:rPr lang="en-US">
                <a:latin typeface="Arial"/>
                <a:cs typeface="Arial"/>
              </a:rPr>
              <a:t> </a:t>
            </a:r>
            <a:r>
              <a:rPr lang="en-US" baseline="30000">
                <a:latin typeface="Arial"/>
                <a:cs typeface="Arial"/>
              </a:rPr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CEB6F2-1D61-AD49-4BF3-123CE624DB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08087" y="3101973"/>
            <a:ext cx="4533631" cy="723986"/>
          </a:xfrm>
        </p:spPr>
        <p:txBody>
          <a:bodyPr/>
          <a:lstStyle/>
          <a:p>
            <a:r>
              <a:rPr lang="en-US"/>
              <a:t>What to Know on Your </a:t>
            </a:r>
            <a:br>
              <a:rPr lang="en-US"/>
            </a:br>
            <a:r>
              <a:rPr lang="en-US"/>
              <a:t>First Day of Clas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CF8DC1-294A-3B17-394F-77CB7480A2F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918B3A-34B7-765B-6FFF-954DC31DBED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75977C7-63D2-A57C-FF70-D762B6C44A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251"/>
          <a:stretch/>
        </p:blipFill>
        <p:spPr>
          <a:xfrm>
            <a:off x="5671335" y="583701"/>
            <a:ext cx="6664502" cy="6274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6742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729200-C3FB-09B6-A40C-FD5C04487E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EA8DB61-D5CC-B122-DEB6-DDFE19AFA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: What is GO with Sharpen?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36FA738-FF10-8511-66C5-0167282DB02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6"/>
            <a:ext cx="10706330" cy="4374092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is McGraw Hill's newest study tool: an exam prep app included in GO! By using both GO and Sharpen, you can master your course material and ace your exams. 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has hundreds of bite-sized study tools customized for your course so you can learn in just 5 minutes. The app delivers personalized  study tips based on your in-app performance, so you can see what you know and what you need to review.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ince Sharpen is made by McGraw Hill, you can trust its content: accurate and focused on the most important concepts. You can launch Sharpen with one click from GO or log into </a:t>
            </a:r>
            <a:r>
              <a:rPr lang="en-US" b="1" err="1">
                <a:latin typeface="Arial"/>
                <a:cs typeface="Arial"/>
              </a:rPr>
              <a:t>Sharpen's</a:t>
            </a:r>
            <a:r>
              <a:rPr lang="en-US" b="1">
                <a:latin typeface="Arial"/>
                <a:cs typeface="Arial"/>
              </a:rPr>
              <a:t> web or mobile apps.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FAF4BB5-C741-3C28-638E-3A715D44CF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GO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latin typeface="Arial"/>
              <a:cs typeface="Arial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9A7BC40-62AA-C453-DD5C-16670191D2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564152" y="5040163"/>
            <a:ext cx="1943966" cy="109450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 descr="GO on a computer screen.">
            <a:extLst>
              <a:ext uri="{FF2B5EF4-FFF2-40B4-BE49-F238E27FC236}">
                <a16:creationId xmlns:a16="http://schemas.microsoft.com/office/drawing/2014/main" id="{88353D54-AE87-30F1-3289-6964EE5BF2A9}"/>
              </a:ext>
            </a:extLst>
          </p:cNvPr>
          <p:cNvGrpSpPr/>
          <p:nvPr/>
        </p:nvGrpSpPr>
        <p:grpSpPr>
          <a:xfrm>
            <a:off x="3492330" y="4963463"/>
            <a:ext cx="2071393" cy="1697690"/>
            <a:chOff x="3492330" y="4963463"/>
            <a:chExt cx="2071393" cy="1697690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518CEFCB-450D-B336-DE65-A065DDA0B61A}"/>
                </a:ext>
              </a:extLst>
            </p:cNvPr>
            <p:cNvGrpSpPr/>
            <p:nvPr/>
          </p:nvGrpSpPr>
          <p:grpSpPr>
            <a:xfrm>
              <a:off x="3492330" y="4963463"/>
              <a:ext cx="2071393" cy="1697690"/>
              <a:chOff x="-3150430" y="816996"/>
              <a:chExt cx="2937302" cy="2401962"/>
            </a:xfrm>
          </p:grpSpPr>
          <p:pic>
            <p:nvPicPr>
              <p:cNvPr id="16" name="Picture 15" descr="Course with McGraw Hill Connect ...">
                <a:extLst>
                  <a:ext uri="{FF2B5EF4-FFF2-40B4-BE49-F238E27FC236}">
                    <a16:creationId xmlns:a16="http://schemas.microsoft.com/office/drawing/2014/main" id="{B9692E7C-3171-CAFF-1C9A-259087E350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2975189" y="1058723"/>
                <a:ext cx="2596243" cy="1298121"/>
              </a:xfrm>
              <a:prstGeom prst="rect">
                <a:avLst/>
              </a:prstGeom>
            </p:spPr>
          </p:pic>
          <p:pic>
            <p:nvPicPr>
              <p:cNvPr id="18" name="Picture 2" descr="Mac Icon png download - 1153*945 - Free Transparent Macbook Pro png  Download. - CleanPNG / KissPNG">
                <a:extLst>
                  <a:ext uri="{FF2B5EF4-FFF2-40B4-BE49-F238E27FC236}">
                    <a16:creationId xmlns:a16="http://schemas.microsoft.com/office/drawing/2014/main" id="{3EBDEE55-838E-2349-EAA8-6A71043D0C2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ackgroundRemoval t="2568" b="96216" l="1000" r="99667">
                            <a14:foregroundMark x1="1000" y1="6351" x2="1000" y2="6351"/>
                            <a14:foregroundMark x1="3333" y1="4459" x2="13889" y2="3378"/>
                            <a14:foregroundMark x1="13889" y1="3378" x2="14111" y2="3243"/>
                            <a14:foregroundMark x1="65889" y1="3243" x2="78667" y2="3378"/>
                            <a14:foregroundMark x1="97222" y1="3649" x2="98222" y2="6757"/>
                            <a14:foregroundMark x1="83444" y1="71216" x2="90111" y2="72027"/>
                            <a14:foregroundMark x1="61111" y1="75946" x2="73889" y2="76216"/>
                            <a14:foregroundMark x1="46333" y1="77838" x2="57889" y2="78378"/>
                            <a14:foregroundMark x1="10111" y1="71892" x2="76444" y2="80676"/>
                            <a14:foregroundMark x1="76444" y1="80676" x2="90778" y2="79054"/>
                            <a14:foregroundMark x1="3889" y1="4730" x2="1222" y2="30000"/>
                            <a14:foregroundMark x1="26222" y1="3243" x2="60111" y2="2568"/>
                            <a14:foregroundMark x1="96556" y1="6892" x2="99667" y2="48784"/>
                            <a14:foregroundMark x1="99667" y1="48784" x2="97222" y2="70811"/>
                            <a14:foregroundMark x1="83778" y1="71622" x2="61111" y2="72703"/>
                            <a14:foregroundMark x1="3667" y1="70270" x2="29222" y2="73108"/>
                            <a14:foregroundMark x1="29222" y1="73108" x2="66444" y2="71622"/>
                            <a14:foregroundMark x1="1889" y1="77973" x2="20667" y2="77568"/>
                            <a14:foregroundMark x1="2000" y1="41486" x2="3667" y2="48784"/>
                            <a14:foregroundMark x1="2000" y1="29730" x2="2667" y2="70541"/>
                            <a14:foregroundMark x1="18333" y1="3243" x2="26111" y2="3378"/>
                            <a14:foregroundMark x1="48000" y1="87027" x2="54111" y2="86351"/>
                            <a14:foregroundMark x1="43111" y1="86081" x2="51556" y2="95811"/>
                            <a14:foregroundMark x1="51556" y1="95811" x2="56889" y2="96216"/>
                            <a14:foregroundMark x1="96556" y1="79054" x2="96556" y2="79054"/>
                            <a14:foregroundMark x1="94889" y1="77432" x2="95556" y2="80405"/>
                            <a14:foregroundMark x1="66667" y1="83919" x2="83222" y2="84189"/>
                            <a14:foregroundMark x1="83222" y1="84189" x2="98333" y2="82973"/>
                            <a14:foregroundMark x1="98333" y1="82973" x2="99556" y2="74865"/>
                            <a14:foregroundMark x1="99556" y1="74865" x2="90556" y2="73514"/>
                            <a14:foregroundMark x1="90556" y1="73514" x2="71333" y2="79459"/>
                            <a14:foregroundMark x1="71333" y1="79459" x2="66778" y2="83243"/>
                            <a14:backgroundMark x1="13556" y1="11486" x2="14778" y2="18378"/>
                            <a14:backgroundMark x1="14778" y1="18378" x2="40889" y2="21351"/>
                            <a14:backgroundMark x1="40889" y1="21351" x2="78222" y2="49054"/>
                            <a14:backgroundMark x1="93333" y1="94189" x2="80000" y2="89730"/>
                            <a14:backgroundMark x1="29000" y1="92703" x2="8667" y2="93243"/>
                            <a14:backgroundMark x1="64333" y1="89459" x2="71667" y2="92432"/>
                            <a14:backgroundMark x1="71667" y1="92432" x2="73889" y2="98514"/>
                            <a14:backgroundMark x1="65889" y1="97703" x2="61556" y2="90946"/>
                            <a14:backgroundMark x1="61556" y1="90946" x2="69930" y2="86898"/>
                            <a14:backgroundMark x1="93618" y1="86176" x2="99333" y2="94865"/>
                            <a14:backgroundMark x1="99333" y1="94865" x2="99333" y2="982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9"/>
              <a:stretch/>
            </p:blipFill>
            <p:spPr bwMode="auto">
              <a:xfrm>
                <a:off x="-3150430" y="816996"/>
                <a:ext cx="2937302" cy="2401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21" name="Picture 20" descr="McGraw Hill GO">
              <a:extLst>
                <a:ext uri="{FF2B5EF4-FFF2-40B4-BE49-F238E27FC236}">
                  <a16:creationId xmlns:a16="http://schemas.microsoft.com/office/drawing/2014/main" id="{985D99EC-0E64-6696-CA81-735E8D9A788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638757" y="5162364"/>
              <a:ext cx="1791443" cy="844672"/>
            </a:xfrm>
            <a:prstGeom prst="rect">
              <a:avLst/>
            </a:prstGeom>
          </p:spPr>
        </p:pic>
      </p:grpSp>
      <p:pic>
        <p:nvPicPr>
          <p:cNvPr id="14" name="Picture 13" descr="Sharpen on a computer screen and mobile phone screen.">
            <a:extLst>
              <a:ext uri="{FF2B5EF4-FFF2-40B4-BE49-F238E27FC236}">
                <a16:creationId xmlns:a16="http://schemas.microsoft.com/office/drawing/2014/main" id="{89D2B2D2-C204-9A78-7D5B-E1B3BD72D0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54223" y="4829092"/>
            <a:ext cx="2562641" cy="1959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2279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352815ED-5449-C549-90F0-EF17730CF768}"/>
    </a:ext>
  </a:extLst>
</a:theme>
</file>

<file path=ppt/theme/theme10.xml><?xml version="1.0" encoding="utf-8"?>
<a:theme xmlns:a="http://schemas.openxmlformats.org/drawingml/2006/main" name="Master Slide Gray Header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cGraw Hill PPT template as of 12.7.21" id="{AFE06423-DED1-418F-A980-C7FCDD9FF36E}" vid="{37397CAB-5060-489A-BB65-9DFAEE360247}"/>
    </a:ext>
  </a:extLst>
</a:theme>
</file>

<file path=ppt/theme/theme11.xml><?xml version="1.0" encoding="utf-8"?>
<a:theme xmlns:a="http://schemas.openxmlformats.org/drawingml/2006/main" name="7_Office Theme">
  <a:themeElements>
    <a:clrScheme name="Redi">
      <a:dk1>
        <a:srgbClr val="313936"/>
      </a:dk1>
      <a:lt1>
        <a:srgbClr val="F2F6F3"/>
      </a:lt1>
      <a:dk2>
        <a:srgbClr val="313936"/>
      </a:dk2>
      <a:lt2>
        <a:srgbClr val="F3F6F4"/>
      </a:lt2>
      <a:accent1>
        <a:srgbClr val="FED67A"/>
      </a:accent1>
      <a:accent2>
        <a:srgbClr val="F4A352"/>
      </a:accent2>
      <a:accent3>
        <a:srgbClr val="F16E55"/>
      </a:accent3>
      <a:accent4>
        <a:srgbClr val="BE497F"/>
      </a:accent4>
      <a:accent5>
        <a:srgbClr val="AA285E"/>
      </a:accent5>
      <a:accent6>
        <a:srgbClr val="4D2F71"/>
      </a:accent6>
      <a:hlink>
        <a:srgbClr val="57C1DD"/>
      </a:hlink>
      <a:folHlink>
        <a:srgbClr val="1E93C6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 2013 - 202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able of Contents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B39F900F-F438-ED4C-9BB9-27EDD81E7952}"/>
    </a:ext>
  </a:extLst>
</a:theme>
</file>

<file path=ppt/theme/theme3.xml><?xml version="1.0" encoding="utf-8"?>
<a:theme xmlns:a="http://schemas.openxmlformats.org/drawingml/2006/main" name="Chapter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DED5EA3D-16A4-7C45-BF12-D3DCD01D7420}"/>
    </a:ext>
  </a:extLst>
</a:theme>
</file>

<file path=ppt/theme/theme4.xml><?xml version="1.0" encoding="utf-8"?>
<a:theme xmlns:a="http://schemas.openxmlformats.org/drawingml/2006/main" name="List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845AF564-5821-B446-B673-46A17AAE1048}"/>
    </a:ext>
  </a:extLst>
</a:theme>
</file>

<file path=ppt/theme/theme5.xml><?xml version="1.0" encoding="utf-8"?>
<a:theme xmlns:a="http://schemas.openxmlformats.org/drawingml/2006/main" name="Call-Out Box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15D6BFAF-FDB0-6C4F-BE05-70B8932CB53C}"/>
    </a:ext>
  </a:extLst>
</a:theme>
</file>

<file path=ppt/theme/theme6.xml><?xml version="1.0" encoding="utf-8"?>
<a:theme xmlns:a="http://schemas.openxmlformats.org/drawingml/2006/main" name="Column and Statistic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68866F8D-219E-1D48-8232-F35BAF3AB18E}"/>
    </a:ext>
  </a:extLst>
</a:theme>
</file>

<file path=ppt/theme/theme7.xml><?xml version="1.0" encoding="utf-8"?>
<a:theme xmlns:a="http://schemas.openxmlformats.org/drawingml/2006/main" name="Quot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99952907-742D-2147-98E7-3817E1F17243}"/>
    </a:ext>
  </a:extLst>
</a:theme>
</file>

<file path=ppt/theme/theme8.xml><?xml version="1.0" encoding="utf-8"?>
<a:theme xmlns:a="http://schemas.openxmlformats.org/drawingml/2006/main" name="Bio Slid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E689B527-ECED-9640-BAF2-E295E40E1BB3}"/>
    </a:ext>
  </a:extLst>
</a:theme>
</file>

<file path=ppt/theme/theme9.xml><?xml version="1.0" encoding="utf-8"?>
<a:theme xmlns:a="http://schemas.openxmlformats.org/drawingml/2006/main" name="Closing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5D7D9312-D834-4646-A40F-5CFBDD29F038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5eee036-b312-4691-be2e-efe9fdaf1737">
      <Terms xmlns="http://schemas.microsoft.com/office/infopath/2007/PartnerControls"/>
    </lcf76f155ced4ddcb4097134ff3c332f>
    <TaxCatchAll xmlns="4f83251b-4d3b-4580-8981-be5e2b08b79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3E5BD4A2DB99489DADB245B77948E1" ma:contentTypeVersion="14" ma:contentTypeDescription="Create a new document." ma:contentTypeScope="" ma:versionID="8fe2cf224561322f6307ff69f0cbd4e8">
  <xsd:schema xmlns:xsd="http://www.w3.org/2001/XMLSchema" xmlns:xs="http://www.w3.org/2001/XMLSchema" xmlns:p="http://schemas.microsoft.com/office/2006/metadata/properties" xmlns:ns2="55eee036-b312-4691-be2e-efe9fdaf1737" xmlns:ns3="4f83251b-4d3b-4580-8981-be5e2b08b791" targetNamespace="http://schemas.microsoft.com/office/2006/metadata/properties" ma:root="true" ma:fieldsID="efd146875e61d015b75b2115db56588f" ns2:_="" ns3:_="">
    <xsd:import namespace="55eee036-b312-4691-be2e-efe9fdaf1737"/>
    <xsd:import namespace="4f83251b-4d3b-4580-8981-be5e2b08b7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eee036-b312-4691-be2e-efe9fdaf17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b8617a1-beef-4e24-867f-51551f54cfe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83251b-4d3b-4580-8981-be5e2b08b79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c39b3064-63db-4cd0-875f-805d9032981a}" ma:internalName="TaxCatchAll" ma:showField="CatchAllData" ma:web="4f83251b-4d3b-4580-8981-be5e2b08b7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4F98F79-CDE5-4D73-B2C6-1BC6C1BC02F1}">
  <ds:schemaRefs>
    <ds:schemaRef ds:uri="4f83251b-4d3b-4580-8981-be5e2b08b791"/>
    <ds:schemaRef ds:uri="55eee036-b312-4691-be2e-efe9fdaf173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92827D6-6DC0-4774-96A1-CBE03911362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D209DAC-BC1E-49E2-B98B-BA1CDBEA2444}">
  <ds:schemaRefs>
    <ds:schemaRef ds:uri="4f83251b-4d3b-4580-8981-be5e2b08b791"/>
    <ds:schemaRef ds:uri="55eee036-b312-4691-be2e-efe9fdaf173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3.03.13 McGraw Hill PowerPoint Template</Template>
  <TotalTime>33</TotalTime>
  <Words>1231</Words>
  <Application>Microsoft Macintosh PowerPoint</Application>
  <PresentationFormat>Widescreen</PresentationFormat>
  <Paragraphs>158</Paragraphs>
  <Slides>24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45" baseType="lpstr">
      <vt:lpstr>Arial</vt:lpstr>
      <vt:lpstr>Arial Black</vt:lpstr>
      <vt:lpstr>Arial,Sans-Serif</vt:lpstr>
      <vt:lpstr>Calibri</vt:lpstr>
      <vt:lpstr>Magazine Grotesque</vt:lpstr>
      <vt:lpstr>Magazine Grotesque Bold</vt:lpstr>
      <vt:lpstr>Proxima Nova</vt:lpstr>
      <vt:lpstr>Wingdings</vt:lpstr>
      <vt:lpstr>Wingdings,Sans-Serif</vt:lpstr>
      <vt:lpstr>Cover Slides</vt:lpstr>
      <vt:lpstr>Table of Contents Slides</vt:lpstr>
      <vt:lpstr>Chapter Slides</vt:lpstr>
      <vt:lpstr>List Slides</vt:lpstr>
      <vt:lpstr>Call-Out Box Slides</vt:lpstr>
      <vt:lpstr>Column and Statistic Slides</vt:lpstr>
      <vt:lpstr>Quotes</vt:lpstr>
      <vt:lpstr>Bio Slides</vt:lpstr>
      <vt:lpstr>Closing Slides</vt:lpstr>
      <vt:lpstr>Master Slide Gray Header</vt:lpstr>
      <vt:lpstr>7_Office Theme</vt:lpstr>
      <vt:lpstr>think-cell Slide</vt:lpstr>
      <vt:lpstr>Slides Available for the First Day of Class: Sharpen Companion, non-IA, Canvas</vt:lpstr>
      <vt:lpstr>McGraw Hill GO</vt:lpstr>
      <vt:lpstr>What is McGraw Hill GO?</vt:lpstr>
      <vt:lpstr>Step 1</vt:lpstr>
      <vt:lpstr>Step 2</vt:lpstr>
      <vt:lpstr>Step 3</vt:lpstr>
      <vt:lpstr>Step 4</vt:lpstr>
      <vt:lpstr>Getting Started with McGraw Hill GO®  and Sharpen  </vt:lpstr>
      <vt:lpstr>Students: What is GO with Sharpen?</vt:lpstr>
      <vt:lpstr>Students, here are some tips to ace your exams with Sharpen:</vt:lpstr>
      <vt:lpstr>Sharpen is the ultimate college study app for exam prep</vt:lpstr>
      <vt:lpstr>Download the Sharpen College Study App – Scan This Code​</vt:lpstr>
      <vt:lpstr>What to Know on Your First Day of Class</vt:lpstr>
      <vt:lpstr>Accessing McGraw Hill GO:  Canvas</vt:lpstr>
      <vt:lpstr>Accessing McGraw Hill GO:  Canvas Launch Assignments</vt:lpstr>
      <vt:lpstr>Accessing McGraw Hill GO:  Sharpen</vt:lpstr>
      <vt:lpstr>Step 4A:</vt:lpstr>
      <vt:lpstr>Step 4B-4C:</vt:lpstr>
      <vt:lpstr>Step 5A: </vt:lpstr>
      <vt:lpstr>Step 5B-5C</vt:lpstr>
      <vt:lpstr>Step 6C: </vt:lpstr>
      <vt:lpstr>Sharpen Companion Log-In Flow GO: IA and non-IA  </vt:lpstr>
      <vt:lpstr>Logging into Sharpen: Registered Students</vt:lpstr>
      <vt:lpstr>Thank you!</vt:lpstr>
    </vt:vector>
  </TitlesOfParts>
  <Company>McGraw-Hi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ting Started with ALEKS®</dc:title>
  <dc:creator>Hicks, Selena</dc:creator>
  <cp:lastModifiedBy>Griffin, Raven</cp:lastModifiedBy>
  <cp:revision>11</cp:revision>
  <dcterms:created xsi:type="dcterms:W3CDTF">2023-07-10T01:20:11Z</dcterms:created>
  <dcterms:modified xsi:type="dcterms:W3CDTF">2025-06-04T20:01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3E5BD4A2DB99489DADB245B77948E1</vt:lpwstr>
  </property>
  <property fmtid="{D5CDD505-2E9C-101B-9397-08002B2CF9AE}" pid="3" name="MediaServiceImageTags">
    <vt:lpwstr/>
  </property>
  <property fmtid="{D5CDD505-2E9C-101B-9397-08002B2CF9AE}" pid="4" name="Order">
    <vt:r8>22203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</Properties>
</file>